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8"/>
  </p:notesMasterIdLst>
  <p:sldIdLst>
    <p:sldId id="257" r:id="rId3"/>
    <p:sldId id="313" r:id="rId4"/>
    <p:sldId id="258" r:id="rId5"/>
    <p:sldId id="314" r:id="rId6"/>
    <p:sldId id="312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F9CD8"/>
    <a:srgbClr val="2B45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58" d="100"/>
          <a:sy n="58" d="100"/>
        </p:scale>
        <p:origin x="98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6D5E84-15D1-4B4E-962F-386B20023BF1}" type="datetimeFigureOut">
              <a:rPr lang="en-US" smtClean="0"/>
              <a:t>2/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08FFD0-1173-4CA2-99BF-4205C56EE0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09096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6" name="Google Shape;1506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507" name="Google Shape;150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7591654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6" name="Google Shape;1506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507" name="Google Shape;150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5220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4.jpg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3CF90F-7EE5-9306-4481-F0DE866B8A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2061ED6-C826-B976-9B0D-C44C9FC15D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DE9E3E-12C4-382B-B652-2FE050ECF1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C71DF4-C705-4326-B4BD-FBA261211C92}" type="datetimeFigureOut">
              <a:rPr lang="en-US" smtClean="0"/>
              <a:t>2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8F0BBB-A00B-3886-C53C-DFFB203163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DCCF96-9F6E-A86A-8166-5B5549741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B79956-F1E8-4F29-B04C-4D31A77335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4430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30304-6521-DCDD-5782-4D9D2B7C4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413265-E1CC-C686-DC7B-D3532989DA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853BB6-5A68-8479-1ED4-B1FEF572EC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C71DF4-C705-4326-B4BD-FBA261211C92}" type="datetimeFigureOut">
              <a:rPr lang="en-US" smtClean="0"/>
              <a:t>2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D3CC15-4D0D-3C38-E591-9497F22CAF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49CEBF-D814-2E26-B731-13CCF2A55F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B79956-F1E8-4F29-B04C-4D31A77335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9326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E8FEA96-F02D-9C79-EA22-900E4364C6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AF33612-E0B3-D06D-F7F6-8883906285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8C3B44-AD19-61DE-19B7-FB1CF25AA3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C71DF4-C705-4326-B4BD-FBA261211C92}" type="datetimeFigureOut">
              <a:rPr lang="en-US" smtClean="0"/>
              <a:t>2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07218D-6C95-3CD6-F5E1-DE0FDE7A5A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00A6D6-0907-8840-D946-DA418B03C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B79956-F1E8-4F29-B04C-4D31A77335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755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>
  <p:cSld name="Breaker Slide_1">
    <p:bg>
      <p:bgPr>
        <a:solidFill>
          <a:schemeClr val="lt2"/>
        </a:solidFill>
        <a:effectLst/>
      </p:bgPr>
    </p:bg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546118-5F3D-2B52-CD65-2348AB66EC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0964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546118-5F3D-2B52-CD65-2348AB66E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A19B082-8E71-5320-8941-5F48F11AEC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13835"/>
          <a:stretch/>
        </p:blipFill>
        <p:spPr>
          <a:xfrm>
            <a:off x="0" y="-6562"/>
            <a:ext cx="12192000" cy="6864562"/>
          </a:xfrm>
          <a:prstGeom prst="rect">
            <a:avLst/>
          </a:prstGeom>
        </p:spPr>
      </p:pic>
      <p:sp>
        <p:nvSpPr>
          <p:cNvPr id="46" name="Google Shape;46;p68"/>
          <p:cNvSpPr/>
          <p:nvPr/>
        </p:nvSpPr>
        <p:spPr>
          <a:xfrm>
            <a:off x="0" y="3853542"/>
            <a:ext cx="6240463" cy="2261507"/>
          </a:xfrm>
          <a:prstGeom prst="rect">
            <a:avLst/>
          </a:prstGeom>
          <a:gradFill>
            <a:gsLst>
              <a:gs pos="0">
                <a:srgbClr val="062379">
                  <a:alpha val="80000"/>
                </a:srgbClr>
              </a:gs>
              <a:gs pos="55000">
                <a:srgbClr val="385ED2">
                  <a:alpha val="80000"/>
                </a:srgbClr>
              </a:gs>
              <a:gs pos="76000">
                <a:srgbClr val="4873F5">
                  <a:alpha val="80000"/>
                </a:srgbClr>
              </a:gs>
              <a:gs pos="100000">
                <a:srgbClr val="43E1D3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47;p68"/>
          <p:cNvSpPr txBox="1">
            <a:spLocks noGrp="1"/>
          </p:cNvSpPr>
          <p:nvPr>
            <p:ph type="title"/>
          </p:nvPr>
        </p:nvSpPr>
        <p:spPr>
          <a:xfrm>
            <a:off x="589046" y="4199465"/>
            <a:ext cx="5400674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7843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grpSp>
        <p:nvGrpSpPr>
          <p:cNvPr id="48" name="Google Shape;48;p6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49" name="Google Shape;49;p6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0;p6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51;p6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6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6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6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6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6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6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6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6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6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6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2" name="Google Shape;62;p6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6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22173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1_Title Only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136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136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488916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521974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(with background)">
  <p:cSld name="Title only (with background)">
    <p:bg>
      <p:bgPr>
        <a:solidFill>
          <a:schemeClr val="lt2"/>
        </a:solidFill>
        <a:effectLst/>
      </p:bgPr>
    </p:bg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4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" name="Google Shape;90;p4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1" name="Google Shape;91;p49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148916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 (with background)">
  <p:cSld name="1_Title only (with background)">
    <p:bg>
      <p:bgPr>
        <a:solidFill>
          <a:schemeClr val="lt2"/>
        </a:solidFill>
        <a:effectLst/>
      </p:bgPr>
    </p:bg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5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5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6" name="Google Shape;146;p5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50"/>
          <p:cNvSpPr txBox="1">
            <a:spLocks noGrp="1"/>
          </p:cNvSpPr>
          <p:nvPr>
            <p:ph type="body" idx="1"/>
          </p:nvPr>
        </p:nvSpPr>
        <p:spPr>
          <a:xfrm>
            <a:off x="550862" y="1028324"/>
            <a:ext cx="11089972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6D90F8"/>
              </a:buClr>
              <a:buSzPts val="2000"/>
              <a:buNone/>
              <a:defRPr sz="2000">
                <a:solidFill>
                  <a:srgbClr val="6D90F8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817329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Without Title">
  <p:cSld name="Without Title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5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50" name="Google Shape;150;p5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51" name="Google Shape;151;p5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152;p5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153;p5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154;p5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55;p5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156;p5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157;p5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158;p5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159;p5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160;p5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161;p5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162;p5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163;p5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64" name="Google Shape;164;p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165" name="Google Shape;165;p5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6" name="Google Shape;166;p58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930523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">
  <p:cSld name="2 Column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5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5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0" name="Google Shape;170;p59"/>
          <p:cNvSpPr txBox="1">
            <a:spLocks noGrp="1"/>
          </p:cNvSpPr>
          <p:nvPr>
            <p:ph type="body" idx="1"/>
          </p:nvPr>
        </p:nvSpPr>
        <p:spPr>
          <a:xfrm>
            <a:off x="550863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59"/>
          <p:cNvSpPr txBox="1">
            <a:spLocks noGrp="1"/>
          </p:cNvSpPr>
          <p:nvPr>
            <p:ph type="body" idx="2"/>
          </p:nvPr>
        </p:nvSpPr>
        <p:spPr>
          <a:xfrm>
            <a:off x="550863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" name="Google Shape;172;p59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" name="Google Shape;173;p59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59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276072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3 Column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6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6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8" name="Google Shape;178;p60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35069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60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35069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60"/>
          <p:cNvSpPr txBox="1">
            <a:spLocks noGrp="1"/>
          </p:cNvSpPr>
          <p:nvPr>
            <p:ph type="body" idx="3"/>
          </p:nvPr>
        </p:nvSpPr>
        <p:spPr>
          <a:xfrm>
            <a:off x="8135839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60"/>
          <p:cNvSpPr txBox="1">
            <a:spLocks noGrp="1"/>
          </p:cNvSpPr>
          <p:nvPr>
            <p:ph type="body" idx="4"/>
          </p:nvPr>
        </p:nvSpPr>
        <p:spPr>
          <a:xfrm>
            <a:off x="8135839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" name="Google Shape;182;p60"/>
          <p:cNvSpPr txBox="1">
            <a:spLocks noGrp="1"/>
          </p:cNvSpPr>
          <p:nvPr>
            <p:ph type="body" idx="5"/>
          </p:nvPr>
        </p:nvSpPr>
        <p:spPr>
          <a:xfrm>
            <a:off x="4344162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60"/>
          <p:cNvSpPr txBox="1">
            <a:spLocks noGrp="1"/>
          </p:cNvSpPr>
          <p:nvPr>
            <p:ph type="body" idx="6"/>
          </p:nvPr>
        </p:nvSpPr>
        <p:spPr>
          <a:xfrm>
            <a:off x="4344162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6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322129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Column">
  <p:cSld name="5 Column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62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" name="Google Shape;187;p6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8" name="Google Shape;188;p62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62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" name="Google Shape;190;p62"/>
          <p:cNvSpPr txBox="1">
            <a:spLocks noGrp="1"/>
          </p:cNvSpPr>
          <p:nvPr>
            <p:ph type="body" idx="3"/>
          </p:nvPr>
        </p:nvSpPr>
        <p:spPr>
          <a:xfrm>
            <a:off x="5104050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" name="Google Shape;191;p62"/>
          <p:cNvSpPr txBox="1">
            <a:spLocks noGrp="1"/>
          </p:cNvSpPr>
          <p:nvPr>
            <p:ph type="body" idx="4"/>
          </p:nvPr>
        </p:nvSpPr>
        <p:spPr>
          <a:xfrm>
            <a:off x="5104050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62"/>
          <p:cNvSpPr txBox="1">
            <a:spLocks noGrp="1"/>
          </p:cNvSpPr>
          <p:nvPr>
            <p:ph type="body" idx="5"/>
          </p:nvPr>
        </p:nvSpPr>
        <p:spPr>
          <a:xfrm>
            <a:off x="2827457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" name="Google Shape;193;p62"/>
          <p:cNvSpPr txBox="1">
            <a:spLocks noGrp="1"/>
          </p:cNvSpPr>
          <p:nvPr>
            <p:ph type="body" idx="6"/>
          </p:nvPr>
        </p:nvSpPr>
        <p:spPr>
          <a:xfrm>
            <a:off x="2827457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4" name="Google Shape;194;p62"/>
          <p:cNvSpPr txBox="1">
            <a:spLocks noGrp="1"/>
          </p:cNvSpPr>
          <p:nvPr>
            <p:ph type="body" idx="7"/>
          </p:nvPr>
        </p:nvSpPr>
        <p:spPr>
          <a:xfrm>
            <a:off x="7380643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" name="Google Shape;195;p62"/>
          <p:cNvSpPr txBox="1">
            <a:spLocks noGrp="1"/>
          </p:cNvSpPr>
          <p:nvPr>
            <p:ph type="body" idx="8"/>
          </p:nvPr>
        </p:nvSpPr>
        <p:spPr>
          <a:xfrm>
            <a:off x="7380643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6" name="Google Shape;196;p62"/>
          <p:cNvSpPr txBox="1">
            <a:spLocks noGrp="1"/>
          </p:cNvSpPr>
          <p:nvPr>
            <p:ph type="body" idx="9"/>
          </p:nvPr>
        </p:nvSpPr>
        <p:spPr>
          <a:xfrm>
            <a:off x="9660801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62"/>
          <p:cNvSpPr txBox="1">
            <a:spLocks noGrp="1"/>
          </p:cNvSpPr>
          <p:nvPr>
            <p:ph type="body" idx="13"/>
          </p:nvPr>
        </p:nvSpPr>
        <p:spPr>
          <a:xfrm>
            <a:off x="9660801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" name="Google Shape;198;p62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39271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B56A46-0843-CEA3-F9F0-CDE891344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5E3DD4-00D9-44C5-2114-56FECBD32F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18FA4B-1295-BE3D-B4E5-5708853B78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C71DF4-C705-4326-B4BD-FBA261211C92}" type="datetimeFigureOut">
              <a:rPr lang="en-US" smtClean="0"/>
              <a:t>2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5C300D-9878-CEA7-79DB-C557C3DFE7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76B2F6-5C73-77C7-8CB2-FFB5F5C7B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B79956-F1E8-4F29-B04C-4D31A77335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0990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_2">
  <p:cSld name="1/3 Blue on Left_2"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63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784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" name="Google Shape;201;p63"/>
          <p:cNvSpPr txBox="1">
            <a:spLocks noGrp="1"/>
          </p:cNvSpPr>
          <p:nvPr>
            <p:ph type="title"/>
          </p:nvPr>
        </p:nvSpPr>
        <p:spPr>
          <a:xfrm>
            <a:off x="566141" y="2546064"/>
            <a:ext cx="3032465" cy="1765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Franklin Gothic"/>
              <a:buNone/>
              <a:defRPr sz="45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" name="Google Shape;202;p6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3" name="Google Shape;203;p63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054780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Left">
  <p:cSld name="1/2 Blue on Left"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64"/>
          <p:cNvSpPr/>
          <p:nvPr/>
        </p:nvSpPr>
        <p:spPr>
          <a:xfrm>
            <a:off x="0" y="-1"/>
            <a:ext cx="6098537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7843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" name="Google Shape;206;p64"/>
          <p:cNvSpPr txBox="1">
            <a:spLocks noGrp="1"/>
          </p:cNvSpPr>
          <p:nvPr>
            <p:ph type="title"/>
          </p:nvPr>
        </p:nvSpPr>
        <p:spPr>
          <a:xfrm>
            <a:off x="539400" y="562840"/>
            <a:ext cx="5074328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7" name="Google Shape;207;p6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8" name="Google Shape;208;p64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9" name="Google Shape;209;p64"/>
          <p:cNvSpPr txBox="1">
            <a:spLocks noGrp="1"/>
          </p:cNvSpPr>
          <p:nvPr>
            <p:ph type="ftr" idx="11"/>
          </p:nvPr>
        </p:nvSpPr>
        <p:spPr>
          <a:xfrm>
            <a:off x="549232" y="6465614"/>
            <a:ext cx="507432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068810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 BG (with Title)">
  <p:cSld name="Gradient BG (with Title)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6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84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2" name="Google Shape;212;p6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13" name="Google Shape;213;p6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14" name="Google Shape;214;p6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15" name="Google Shape;215;p6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Google Shape;216;p6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Google Shape;217;p6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Google Shape;218;p6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" name="Google Shape;219;p6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0;p6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1;p6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2;p6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3;p6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4;p6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5;p6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6;p6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;p6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8" name="Google Shape;228;p6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9" name="Google Shape;229;p6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0" name="Google Shape;230;p6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945727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Gradient BG (with Title)">
  <p:cSld name="1_Gradient BG (with Title)"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6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84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33" name="Google Shape;233;p66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34" name="Google Shape;234;p66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" name="Google Shape;235;p66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Google Shape;236;p66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" name="Google Shape;237;p66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66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39;p66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40;p66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41;p66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42;p66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43;p66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44;p66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45;p66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66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7" name="Google Shape;247;p66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8" name="Google Shape;248;p6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9" name="Google Shape;249;p66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229577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Right">
  <p:cSld name="1/3 Blue on Right"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67"/>
          <p:cNvSpPr/>
          <p:nvPr/>
        </p:nvSpPr>
        <p:spPr>
          <a:xfrm>
            <a:off x="8134763" y="-1"/>
            <a:ext cx="4059776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84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" name="Google Shape;252;p67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726112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3" name="Google Shape;253;p67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4" name="Google Shape;254;p67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5" name="Google Shape;255;p67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56" name="Google Shape;256;p67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67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67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67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67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67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67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67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67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67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67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67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67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9" name="Google Shape;269;p67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Google Shape;270;p67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72764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443580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2">
  <p:cSld name="Breaker Slide_2">
    <p:bg>
      <p:bgPr>
        <a:solidFill>
          <a:schemeClr val="lt2"/>
        </a:solidFill>
        <a:effectLst/>
      </p:bgPr>
    </p:bg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2" name="Google Shape;272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3" name="Google Shape;273;p6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55000">
                <a:srgbClr val="0934B6">
                  <a:alpha val="87843"/>
                </a:srgbClr>
              </a:gs>
              <a:gs pos="85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4" name="Google Shape;274;p69"/>
          <p:cNvSpPr txBox="1">
            <a:spLocks noGrp="1"/>
          </p:cNvSpPr>
          <p:nvPr>
            <p:ph type="title"/>
          </p:nvPr>
        </p:nvSpPr>
        <p:spPr>
          <a:xfrm>
            <a:off x="992390" y="4026897"/>
            <a:ext cx="6785798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7843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5" name="Google Shape;275;p69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76" name="Google Shape;276;p69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69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69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69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69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69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69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69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69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69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69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69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69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9" name="Google Shape;289;p69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0" name="Google Shape;290;p6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1" name="Google Shape;291;p69"/>
          <p:cNvCxnSpPr/>
          <p:nvPr/>
        </p:nvCxnSpPr>
        <p:spPr>
          <a:xfrm>
            <a:off x="992389" y="5712304"/>
            <a:ext cx="15424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868270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uides">
  <p:cSld name="Guides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70"/>
          <p:cNvSpPr/>
          <p:nvPr/>
        </p:nvSpPr>
        <p:spPr>
          <a:xfrm>
            <a:off x="0" y="0"/>
            <a:ext cx="12193200" cy="6858000"/>
          </a:xfrm>
          <a:custGeom>
            <a:avLst/>
            <a:gdLst/>
            <a:ahLst/>
            <a:cxnLst/>
            <a:rect l="l" t="t" r="r" b="b"/>
            <a:pathLst>
              <a:path w="12193200" h="6858000" extrusionOk="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2745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94" name="Google Shape;294;p70"/>
          <p:cNvGrpSpPr/>
          <p:nvPr/>
        </p:nvGrpSpPr>
        <p:grpSpPr>
          <a:xfrm>
            <a:off x="-600" y="549275"/>
            <a:ext cx="12193201" cy="5759450"/>
            <a:chOff x="-600" y="549275"/>
            <a:chExt cx="12193201" cy="5759450"/>
          </a:xfrm>
        </p:grpSpPr>
        <p:cxnSp>
          <p:nvCxnSpPr>
            <p:cNvPr id="295" name="Google Shape;295;p70"/>
            <p:cNvCxnSpPr/>
            <p:nvPr/>
          </p:nvCxnSpPr>
          <p:spPr>
            <a:xfrm>
              <a:off x="-600" y="54927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6" name="Google Shape;296;p70"/>
            <p:cNvCxnSpPr/>
            <p:nvPr/>
          </p:nvCxnSpPr>
          <p:spPr>
            <a:xfrm>
              <a:off x="-600" y="107286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7" name="Google Shape;297;p70"/>
            <p:cNvCxnSpPr/>
            <p:nvPr/>
          </p:nvCxnSpPr>
          <p:spPr>
            <a:xfrm>
              <a:off x="-600" y="133465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8" name="Google Shape;298;p70"/>
            <p:cNvCxnSpPr/>
            <p:nvPr/>
          </p:nvCxnSpPr>
          <p:spPr>
            <a:xfrm>
              <a:off x="-600" y="159644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9" name="Google Shape;299;p70"/>
            <p:cNvCxnSpPr/>
            <p:nvPr/>
          </p:nvCxnSpPr>
          <p:spPr>
            <a:xfrm>
              <a:off x="-600" y="185824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0" name="Google Shape;300;p70"/>
            <p:cNvCxnSpPr/>
            <p:nvPr/>
          </p:nvCxnSpPr>
          <p:spPr>
            <a:xfrm>
              <a:off x="-600" y="212003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1" name="Google Shape;301;p70"/>
            <p:cNvCxnSpPr/>
            <p:nvPr/>
          </p:nvCxnSpPr>
          <p:spPr>
            <a:xfrm>
              <a:off x="-600" y="238182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2" name="Google Shape;302;p70"/>
            <p:cNvCxnSpPr/>
            <p:nvPr/>
          </p:nvCxnSpPr>
          <p:spPr>
            <a:xfrm>
              <a:off x="-600" y="264361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3" name="Google Shape;303;p70"/>
            <p:cNvCxnSpPr/>
            <p:nvPr/>
          </p:nvCxnSpPr>
          <p:spPr>
            <a:xfrm>
              <a:off x="-600" y="290541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4" name="Google Shape;304;p70"/>
            <p:cNvCxnSpPr/>
            <p:nvPr/>
          </p:nvCxnSpPr>
          <p:spPr>
            <a:xfrm>
              <a:off x="-600" y="316720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5" name="Google Shape;305;p70"/>
            <p:cNvCxnSpPr/>
            <p:nvPr/>
          </p:nvCxnSpPr>
          <p:spPr>
            <a:xfrm>
              <a:off x="-600" y="342899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6" name="Google Shape;306;p70"/>
            <p:cNvCxnSpPr/>
            <p:nvPr/>
          </p:nvCxnSpPr>
          <p:spPr>
            <a:xfrm>
              <a:off x="-600" y="369079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7" name="Google Shape;307;p70"/>
            <p:cNvCxnSpPr/>
            <p:nvPr/>
          </p:nvCxnSpPr>
          <p:spPr>
            <a:xfrm>
              <a:off x="-600" y="395258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8" name="Google Shape;308;p70"/>
            <p:cNvCxnSpPr/>
            <p:nvPr/>
          </p:nvCxnSpPr>
          <p:spPr>
            <a:xfrm>
              <a:off x="-600" y="421437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9" name="Google Shape;309;p70"/>
            <p:cNvCxnSpPr/>
            <p:nvPr/>
          </p:nvCxnSpPr>
          <p:spPr>
            <a:xfrm>
              <a:off x="-600" y="447617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0" name="Google Shape;310;p70"/>
            <p:cNvCxnSpPr/>
            <p:nvPr/>
          </p:nvCxnSpPr>
          <p:spPr>
            <a:xfrm>
              <a:off x="-600" y="473796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1" name="Google Shape;311;p70"/>
            <p:cNvCxnSpPr/>
            <p:nvPr/>
          </p:nvCxnSpPr>
          <p:spPr>
            <a:xfrm>
              <a:off x="-600" y="499975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2" name="Google Shape;312;p70"/>
            <p:cNvCxnSpPr/>
            <p:nvPr/>
          </p:nvCxnSpPr>
          <p:spPr>
            <a:xfrm>
              <a:off x="-600" y="526154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3" name="Google Shape;313;p70"/>
            <p:cNvCxnSpPr/>
            <p:nvPr/>
          </p:nvCxnSpPr>
          <p:spPr>
            <a:xfrm>
              <a:off x="-600" y="552334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" name="Google Shape;314;p70"/>
            <p:cNvCxnSpPr/>
            <p:nvPr/>
          </p:nvCxnSpPr>
          <p:spPr>
            <a:xfrm>
              <a:off x="-600" y="578513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5" name="Google Shape;315;p70"/>
            <p:cNvCxnSpPr/>
            <p:nvPr/>
          </p:nvCxnSpPr>
          <p:spPr>
            <a:xfrm>
              <a:off x="-600" y="81106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6" name="Google Shape;316;p70"/>
            <p:cNvCxnSpPr/>
            <p:nvPr/>
          </p:nvCxnSpPr>
          <p:spPr>
            <a:xfrm>
              <a:off x="-600" y="630872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7" name="Google Shape;317;p70"/>
            <p:cNvCxnSpPr/>
            <p:nvPr/>
          </p:nvCxnSpPr>
          <p:spPr>
            <a:xfrm>
              <a:off x="-600" y="604692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318" name="Google Shape;318;p70"/>
          <p:cNvSpPr/>
          <p:nvPr/>
        </p:nvSpPr>
        <p:spPr>
          <a:xfrm>
            <a:off x="550263" y="6308721"/>
            <a:ext cx="11090873" cy="261799"/>
          </a:xfrm>
          <a:prstGeom prst="rect">
            <a:avLst/>
          </a:prstGeom>
          <a:solidFill>
            <a:srgbClr val="FF0000">
              <a:alpha val="7843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319;p70"/>
          <p:cNvSpPr/>
          <p:nvPr/>
        </p:nvSpPr>
        <p:spPr>
          <a:xfrm>
            <a:off x="550864" y="1348221"/>
            <a:ext cx="11105556" cy="509202"/>
          </a:xfrm>
          <a:prstGeom prst="rect">
            <a:avLst/>
          </a:prstGeom>
          <a:solidFill>
            <a:srgbClr val="FF0000">
              <a:alpha val="2745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0" name="Google Shape;320;p70"/>
          <p:cNvSpPr/>
          <p:nvPr/>
        </p:nvSpPr>
        <p:spPr>
          <a:xfrm>
            <a:off x="550863" y="2120033"/>
            <a:ext cx="11090275" cy="4188692"/>
          </a:xfrm>
          <a:custGeom>
            <a:avLst/>
            <a:gdLst/>
            <a:ahLst/>
            <a:cxnLst/>
            <a:rect l="l" t="t" r="r" b="b"/>
            <a:pathLst>
              <a:path w="10931999" h="5537797" extrusionOk="0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 cap="flat" cmpd="sng">
            <a:solidFill>
              <a:schemeClr val="dk2">
                <a:alpha val="32941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21" name="Google Shape;321;p70"/>
          <p:cNvGrpSpPr/>
          <p:nvPr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</p:grpSpPr>
        <p:sp>
          <p:nvSpPr>
            <p:cNvPr id="322" name="Google Shape;322;p70"/>
            <p:cNvSpPr/>
            <p:nvPr/>
          </p:nvSpPr>
          <p:spPr>
            <a:xfrm>
              <a:off x="6900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323;p70"/>
            <p:cNvSpPr/>
            <p:nvPr/>
          </p:nvSpPr>
          <p:spPr>
            <a:xfrm>
              <a:off x="8795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324;p70"/>
            <p:cNvSpPr/>
            <p:nvPr/>
          </p:nvSpPr>
          <p:spPr>
            <a:xfrm>
              <a:off x="78478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325;p70"/>
            <p:cNvSpPr/>
            <p:nvPr/>
          </p:nvSpPr>
          <p:spPr>
            <a:xfrm>
              <a:off x="97428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326;p70"/>
            <p:cNvSpPr/>
            <p:nvPr/>
          </p:nvSpPr>
          <p:spPr>
            <a:xfrm>
              <a:off x="10690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327;p70"/>
            <p:cNvSpPr/>
            <p:nvPr/>
          </p:nvSpPr>
          <p:spPr>
            <a:xfrm>
              <a:off x="5952839" y="549274"/>
              <a:ext cx="288000" cy="5759450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328;p70"/>
            <p:cNvSpPr/>
            <p:nvPr/>
          </p:nvSpPr>
          <p:spPr>
            <a:xfrm>
              <a:off x="1215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329;p70"/>
            <p:cNvSpPr/>
            <p:nvPr/>
          </p:nvSpPr>
          <p:spPr>
            <a:xfrm>
              <a:off x="21628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330;p70"/>
            <p:cNvSpPr/>
            <p:nvPr/>
          </p:nvSpPr>
          <p:spPr>
            <a:xfrm>
              <a:off x="3110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331;p70"/>
            <p:cNvSpPr/>
            <p:nvPr/>
          </p:nvSpPr>
          <p:spPr>
            <a:xfrm>
              <a:off x="40578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332;p70"/>
            <p:cNvSpPr/>
            <p:nvPr/>
          </p:nvSpPr>
          <p:spPr>
            <a:xfrm>
              <a:off x="5005339" y="549274"/>
              <a:ext cx="288000" cy="5759450"/>
            </a:xfrm>
            <a:prstGeom prst="rect">
              <a:avLst/>
            </a:prstGeom>
            <a:solidFill>
              <a:srgbClr val="9EB5FA">
                <a:alpha val="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3" name="Google Shape;333;p70"/>
          <p:cNvSpPr txBox="1"/>
          <p:nvPr/>
        </p:nvSpPr>
        <p:spPr>
          <a:xfrm>
            <a:off x="550862" y="6309543"/>
            <a:ext cx="9030915" cy="277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Footnotes/Not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Source: Include a source her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4" name="Google Shape;334;p70"/>
          <p:cNvSpPr txBox="1">
            <a:spLocks noGrp="1"/>
          </p:cNvSpPr>
          <p:nvPr>
            <p:ph type="sldNum" idx="12"/>
          </p:nvPr>
        </p:nvSpPr>
        <p:spPr>
          <a:xfrm>
            <a:off x="11490153" y="6450225"/>
            <a:ext cx="150682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5" name="Google Shape;335;p7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6" name="Google Shape;336;p70"/>
          <p:cNvGrpSpPr/>
          <p:nvPr/>
        </p:nvGrpSpPr>
        <p:grpSpPr>
          <a:xfrm>
            <a:off x="550864" y="6156603"/>
            <a:ext cx="11089971" cy="55199"/>
            <a:chOff x="550864" y="6156603"/>
            <a:chExt cx="11089971" cy="55199"/>
          </a:xfrm>
        </p:grpSpPr>
        <p:sp>
          <p:nvSpPr>
            <p:cNvPr id="337" name="Google Shape;337;p70"/>
            <p:cNvSpPr/>
            <p:nvPr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338;p70"/>
            <p:cNvSpPr/>
            <p:nvPr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339;p70"/>
            <p:cNvSpPr/>
            <p:nvPr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Google Shape;340;p70"/>
            <p:cNvSpPr/>
            <p:nvPr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341;p70"/>
            <p:cNvSpPr/>
            <p:nvPr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rgbClr val="9EB5FA">
                <a:alpha val="27843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17834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Full-width Page">
  <p:cSld name="5_Full-width Page"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24D858-CB9E-F526-1279-D7270A150F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1305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24D858-CB9E-F526-1279-D7270A150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3" name="Google Shape;343;p7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" y="0"/>
            <a:ext cx="349249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44" name="Google Shape;344;p71"/>
          <p:cNvSpPr/>
          <p:nvPr/>
        </p:nvSpPr>
        <p:spPr>
          <a:xfrm>
            <a:off x="0" y="-1"/>
            <a:ext cx="3492497" cy="6857999"/>
          </a:xfrm>
          <a:prstGeom prst="rect">
            <a:avLst/>
          </a:prstGeom>
          <a:gradFill>
            <a:gsLst>
              <a:gs pos="0">
                <a:schemeClr val="dk2"/>
              </a:gs>
              <a:gs pos="76000">
                <a:srgbClr val="4873F5">
                  <a:alpha val="82745"/>
                </a:srgbClr>
              </a:gs>
              <a:gs pos="100000">
                <a:srgbClr val="00B9FF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5" name="Google Shape;345;p71"/>
          <p:cNvSpPr txBox="1">
            <a:spLocks noGrp="1"/>
          </p:cNvSpPr>
          <p:nvPr>
            <p:ph type="title"/>
          </p:nvPr>
        </p:nvSpPr>
        <p:spPr>
          <a:xfrm>
            <a:off x="550863" y="549275"/>
            <a:ext cx="2941634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46" name="Google Shape;346;p71"/>
          <p:cNvCxnSpPr>
            <a:cxnSpLocks/>
          </p:cNvCxnSpPr>
          <p:nvPr/>
        </p:nvCxnSpPr>
        <p:spPr>
          <a:xfrm>
            <a:off x="537325" y="499953"/>
            <a:ext cx="525362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7050746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only (with background)">
  <p:cSld name="2_Title only (with background)">
    <p:bg>
      <p:bgPr>
        <a:solidFill>
          <a:schemeClr val="lt2"/>
        </a:solidFill>
        <a:effectLst/>
      </p:bgPr>
    </p:bg>
    <p:spTree>
      <p:nvGrpSpPr>
        <p:cNvPr id="1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7" name="Google Shape;707;p83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488916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8" name="Google Shape;708;p8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709" name="Google Shape;709;p83"/>
          <p:cNvGrpSpPr/>
          <p:nvPr/>
        </p:nvGrpSpPr>
        <p:grpSpPr>
          <a:xfrm>
            <a:off x="11979441" y="4535495"/>
            <a:ext cx="110800" cy="2041948"/>
            <a:chOff x="11979441" y="4535495"/>
            <a:chExt cx="110800" cy="2041948"/>
          </a:xfrm>
        </p:grpSpPr>
        <p:grpSp>
          <p:nvGrpSpPr>
            <p:cNvPr id="710" name="Google Shape;710;p83"/>
            <p:cNvGrpSpPr/>
            <p:nvPr/>
          </p:nvGrpSpPr>
          <p:grpSpPr>
            <a:xfrm>
              <a:off x="11998460" y="6135518"/>
              <a:ext cx="68500" cy="441925"/>
              <a:chOff x="11998459" y="6162188"/>
              <a:chExt cx="68500" cy="441925"/>
            </a:xfrm>
          </p:grpSpPr>
          <p:sp>
            <p:nvSpPr>
              <p:cNvPr id="711" name="Google Shape;711;p83"/>
              <p:cNvSpPr/>
              <p:nvPr/>
            </p:nvSpPr>
            <p:spPr>
              <a:xfrm rot="-5400000">
                <a:off x="12063068" y="6476346"/>
                <a:ext cx="17" cy="1717"/>
              </a:xfrm>
              <a:custGeom>
                <a:avLst/>
                <a:gdLst/>
                <a:ahLst/>
                <a:cxnLst/>
                <a:rect l="l" t="t" r="r" b="b"/>
                <a:pathLst>
                  <a:path w="17" h="1717" extrusionOk="0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2" name="Google Shape;712;p83"/>
              <p:cNvSpPr/>
              <p:nvPr/>
            </p:nvSpPr>
            <p:spPr>
              <a:xfrm rot="-5400000">
                <a:off x="12023737" y="6455896"/>
                <a:ext cx="453" cy="271"/>
              </a:xfrm>
              <a:custGeom>
                <a:avLst/>
                <a:gdLst/>
                <a:ahLst/>
                <a:cxnLst/>
                <a:rect l="l" t="t" r="r" b="b"/>
                <a:pathLst>
                  <a:path w="453" h="271" extrusionOk="0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3" name="Google Shape;713;p83"/>
              <p:cNvSpPr/>
              <p:nvPr/>
            </p:nvSpPr>
            <p:spPr>
              <a:xfrm rot="-5400000">
                <a:off x="12023907" y="6477766"/>
                <a:ext cx="15" cy="76"/>
              </a:xfrm>
              <a:custGeom>
                <a:avLst/>
                <a:gdLst/>
                <a:ahLst/>
                <a:cxnLst/>
                <a:rect l="l" t="t" r="r" b="b"/>
                <a:pathLst>
                  <a:path w="15" h="76" extrusionOk="0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4" name="Google Shape;714;p83"/>
              <p:cNvSpPr/>
              <p:nvPr/>
            </p:nvSpPr>
            <p:spPr>
              <a:xfrm rot="-5400000">
                <a:off x="12021636" y="6473651"/>
                <a:ext cx="261" cy="103"/>
              </a:xfrm>
              <a:custGeom>
                <a:avLst/>
                <a:gdLst/>
                <a:ahLst/>
                <a:cxnLst/>
                <a:rect l="l" t="t" r="r" b="b"/>
                <a:pathLst>
                  <a:path w="261" h="103" extrusionOk="0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" name="Google Shape;715;p83"/>
              <p:cNvSpPr/>
              <p:nvPr/>
            </p:nvSpPr>
            <p:spPr>
              <a:xfrm rot="-5400000">
                <a:off x="12015635" y="6442208"/>
                <a:ext cx="51323" cy="51323"/>
              </a:xfrm>
              <a:custGeom>
                <a:avLst/>
                <a:gdLst/>
                <a:ahLst/>
                <a:cxnLst/>
                <a:rect l="l" t="t" r="r" b="b"/>
                <a:pathLst>
                  <a:path w="51323" h="51323" extrusionOk="0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6" name="Google Shape;716;p83"/>
              <p:cNvSpPr/>
              <p:nvPr/>
            </p:nvSpPr>
            <p:spPr>
              <a:xfrm rot="-5400000">
                <a:off x="12026199" y="6563439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7" name="Google Shape;717;p83"/>
              <p:cNvSpPr/>
              <p:nvPr/>
            </p:nvSpPr>
            <p:spPr>
              <a:xfrm rot="-5400000">
                <a:off x="12018640" y="6529825"/>
                <a:ext cx="45208" cy="51256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6" extrusionOk="0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8" name="Google Shape;718;p83"/>
              <p:cNvSpPr/>
              <p:nvPr/>
            </p:nvSpPr>
            <p:spPr>
              <a:xfrm rot="-5400000">
                <a:off x="12018195" y="6477145"/>
                <a:ext cx="28942" cy="68414"/>
              </a:xfrm>
              <a:custGeom>
                <a:avLst/>
                <a:gdLst/>
                <a:ahLst/>
                <a:cxnLst/>
                <a:rect l="l" t="t" r="r" b="b"/>
                <a:pathLst>
                  <a:path w="28942" h="68414" extrusionOk="0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9" name="Google Shape;719;p83"/>
              <p:cNvSpPr/>
              <p:nvPr/>
            </p:nvSpPr>
            <p:spPr>
              <a:xfrm rot="-5400000">
                <a:off x="12016830" y="6161182"/>
                <a:ext cx="49036" cy="51048"/>
              </a:xfrm>
              <a:custGeom>
                <a:avLst/>
                <a:gdLst/>
                <a:ahLst/>
                <a:cxnLst/>
                <a:rect l="l" t="t" r="r" b="b"/>
                <a:pathLst>
                  <a:path w="49036" h="51048" extrusionOk="0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0" name="Google Shape;720;p83"/>
              <p:cNvSpPr/>
              <p:nvPr/>
            </p:nvSpPr>
            <p:spPr>
              <a:xfrm rot="-5400000">
                <a:off x="12005374" y="6370523"/>
                <a:ext cx="71791" cy="51205"/>
              </a:xfrm>
              <a:custGeom>
                <a:avLst/>
                <a:gdLst/>
                <a:ahLst/>
                <a:cxnLst/>
                <a:rect l="l" t="t" r="r" b="b"/>
                <a:pathLst>
                  <a:path w="71791" h="51205" extrusionOk="0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1" name="Google Shape;721;p83"/>
              <p:cNvSpPr/>
              <p:nvPr/>
            </p:nvSpPr>
            <p:spPr>
              <a:xfrm rot="-5400000">
                <a:off x="12026199" y="6307354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2" name="Google Shape;722;p83"/>
              <p:cNvSpPr/>
              <p:nvPr/>
            </p:nvSpPr>
            <p:spPr>
              <a:xfrm rot="-5400000">
                <a:off x="12018641" y="6273739"/>
                <a:ext cx="45208" cy="51255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5" extrusionOk="0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3" name="Google Shape;723;p83"/>
              <p:cNvSpPr/>
              <p:nvPr/>
            </p:nvSpPr>
            <p:spPr>
              <a:xfrm rot="-5400000">
                <a:off x="12017163" y="6218687"/>
                <a:ext cx="48082" cy="51510"/>
              </a:xfrm>
              <a:custGeom>
                <a:avLst/>
                <a:gdLst/>
                <a:ahLst/>
                <a:cxnLst/>
                <a:rect l="l" t="t" r="r" b="b"/>
                <a:pathLst>
                  <a:path w="48082" h="51510" extrusionOk="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pic>
          <p:nvPicPr>
            <p:cNvPr id="724" name="Google Shape;724;p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rot="-5400000">
              <a:off x="11811888" y="6322371"/>
              <a:ext cx="441438" cy="6870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25" name="Google Shape;725;p83"/>
            <p:cNvSpPr txBox="1"/>
            <p:nvPr/>
          </p:nvSpPr>
          <p:spPr>
            <a:xfrm rot="-5400000">
              <a:off x="11250972" y="5263963"/>
              <a:ext cx="1567737" cy="110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0. All rights reserved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726" name="Google Shape;726;p83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281636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F5DA6A-DC81-916F-5B10-447784605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6DF93D-C1A6-641C-274F-0AE8B79183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55A50C-C26C-E68E-060F-51D34D2EFB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C71DF4-C705-4326-B4BD-FBA261211C92}" type="datetimeFigureOut">
              <a:rPr lang="en-US" smtClean="0"/>
              <a:t>2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7F2C1-D2F2-40DA-2D29-416699FCBC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470D5C-53AB-FDA1-0DE6-06CCEF0E28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B79956-F1E8-4F29-B04C-4D31A77335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50630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70C4DB-8BFD-75DA-0244-CA572F503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E2BE57-9AD9-5DE7-4257-F7BC74A668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85CFA37-60FB-9D61-1682-E6A1CFCF8A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CA579B-F6E7-6396-51EF-B6929800F9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C71DF4-C705-4326-B4BD-FBA261211C92}" type="datetimeFigureOut">
              <a:rPr lang="en-US" smtClean="0"/>
              <a:t>2/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A6442F-3FF5-0FB5-5F80-F24110FAF3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05DB08-D630-4733-7104-3AFBE0245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B79956-F1E8-4F29-B04C-4D31A77335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357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3EC374-019E-0B0C-B231-91F20FEA56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BF2615-62EA-6A6F-F084-B369FAF793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958E9F-A391-3968-C4CD-3533DD6548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766383-E565-3741-B8AE-2BCC29920B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02F8CC5-479E-6B17-92D4-E868914CF34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0ED19AB-CCCA-4086-B99F-453D5B47A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C71DF4-C705-4326-B4BD-FBA261211C92}" type="datetimeFigureOut">
              <a:rPr lang="en-US" smtClean="0"/>
              <a:t>2/8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5B97B1-837D-478A-6CAA-DA7B148928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0760EA2-65A2-209F-44C0-DDAEC1C6D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B79956-F1E8-4F29-B04C-4D31A77335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372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02726-59AA-8FEB-86DA-B0BC20FA85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AE5626-2DBE-3599-54DD-DE6BBB6508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C71DF4-C705-4326-B4BD-FBA261211C92}" type="datetimeFigureOut">
              <a:rPr lang="en-US" smtClean="0"/>
              <a:t>2/8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5ACE64-D3DD-806E-6ED3-04DFCB6D11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FBD397-A8A3-6857-33FD-21E2BAC310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B79956-F1E8-4F29-B04C-4D31A77335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7158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F88ABDC-F5D2-2B4C-F690-1DA2FA4F79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C71DF4-C705-4326-B4BD-FBA261211C92}" type="datetimeFigureOut">
              <a:rPr lang="en-US" smtClean="0"/>
              <a:t>2/8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A0127AC-E373-FAFC-E416-A9ABB1736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124980-1515-443F-898D-2A9AA50D4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B79956-F1E8-4F29-B04C-4D31A77335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2313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365B4C-0721-7874-F806-4509E6405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16197E-AE1C-5586-4E58-886624166B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28AFD0-7635-5C08-DE08-1B5FA6D977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B83241-46E3-F53B-9459-60EAC4CB76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C71DF4-C705-4326-B4BD-FBA261211C92}" type="datetimeFigureOut">
              <a:rPr lang="en-US" smtClean="0"/>
              <a:t>2/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05CC29-1EE3-679C-4378-81B4978C5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69BB72-AC63-747D-9C68-642A8A05E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B79956-F1E8-4F29-B04C-4D31A77335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9775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EAE588-74E7-2FCA-8895-251FF198E3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658ECB-97C8-3CEE-14B4-A2A824211BB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F284CE-88F3-A1C4-C1E5-00D549FCF1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C853B2-09F5-0872-F658-0D96F0F4C8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C71DF4-C705-4326-B4BD-FBA261211C92}" type="datetimeFigureOut">
              <a:rPr lang="en-US" smtClean="0"/>
              <a:t>2/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8525B2-48BA-8FC7-FA4F-C9881F1AFA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4F4F7E-D7CF-52F2-8F74-D5FE3E7CD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B79956-F1E8-4F29-B04C-4D31A77335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775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87474A8-15DC-60AF-76E0-8659AF751F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96448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7FE398-DC7E-90F3-D983-2EF85CC02F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1C67FE-F6D0-1AB9-378D-95CC73FFBE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53785F-0CF4-51E1-70A1-A7DA3F8E57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C71DF4-C705-4326-B4BD-FBA261211C92}" type="datetimeFigureOut">
              <a:rPr lang="en-US" smtClean="0"/>
              <a:t>2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93BF18-1052-925A-3F00-5414F62B8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677A1E-6F33-BA77-16DE-E776FAB1D7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B79956-F1E8-4F29-B04C-4D31A77335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732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245F17-99DD-9C17-43D9-1F68E3A4EE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394983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95" imgH="396" progId="TCLayout.ActiveDocument.1">
                  <p:embed/>
                </p:oleObj>
              </mc:Choice>
              <mc:Fallback>
                <p:oleObj name="think-cell Slide" r:id="rId20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245F17-99DD-9C17-43D9-1F68E3A4EE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oogle Shape;10;p4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1" name="Google Shape;11;p4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2;p4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13;p4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4;p4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5;p4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;p4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7;p4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8;p4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9;p4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20;p4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4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2;p4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3;p4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4" name="Google Shape;24;p45"/>
          <p:cNvPicPr preferRelativeResize="0"/>
          <p:nvPr/>
        </p:nvPicPr>
        <p:blipFill rotWithShape="1">
          <a:blip r:embed="rId22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4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 sz="32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45"/>
          <p:cNvSpPr txBox="1">
            <a:spLocks noGrp="1"/>
          </p:cNvSpPr>
          <p:nvPr>
            <p:ph type="body" idx="1"/>
          </p:nvPr>
        </p:nvSpPr>
        <p:spPr>
          <a:xfrm>
            <a:off x="550862" y="1859913"/>
            <a:ext cx="11089973" cy="1349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0040" algn="l" rtl="0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0039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4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4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" name="Google Shape;29;p4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0" name="Google Shape;30;p4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" name="Google Shape;31;p45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3869749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9.png"/><Relationship Id="rId21" Type="http://schemas.openxmlformats.org/officeDocument/2006/relationships/image" Target="../media/image16.png"/><Relationship Id="rId42" Type="http://schemas.openxmlformats.org/officeDocument/2006/relationships/image" Target="../media/image27.png"/><Relationship Id="rId47" Type="http://schemas.openxmlformats.org/officeDocument/2006/relationships/image" Target="../media/image30.png"/><Relationship Id="rId63" Type="http://schemas.microsoft.com/office/2007/relationships/hdphoto" Target="../media/hdphoto26.wdp"/><Relationship Id="rId68" Type="http://schemas.openxmlformats.org/officeDocument/2006/relationships/image" Target="../media/image41.png"/><Relationship Id="rId84" Type="http://schemas.openxmlformats.org/officeDocument/2006/relationships/image" Target="../media/image54.png"/><Relationship Id="rId89" Type="http://schemas.microsoft.com/office/2007/relationships/hdphoto" Target="../media/hdphoto34.wdp"/><Relationship Id="rId16" Type="http://schemas.microsoft.com/office/2007/relationships/hdphoto" Target="../media/hdphoto4.wdp"/><Relationship Id="rId107" Type="http://schemas.openxmlformats.org/officeDocument/2006/relationships/image" Target="../media/image67.png"/><Relationship Id="rId11" Type="http://schemas.openxmlformats.org/officeDocument/2006/relationships/image" Target="../media/image10.png"/><Relationship Id="rId32" Type="http://schemas.openxmlformats.org/officeDocument/2006/relationships/image" Target="../media/image22.png"/><Relationship Id="rId37" Type="http://schemas.microsoft.com/office/2007/relationships/hdphoto" Target="../media/hdphoto14.wdp"/><Relationship Id="rId53" Type="http://schemas.openxmlformats.org/officeDocument/2006/relationships/image" Target="../media/image33.png"/><Relationship Id="rId58" Type="http://schemas.openxmlformats.org/officeDocument/2006/relationships/image" Target="../media/image36.png"/><Relationship Id="rId74" Type="http://schemas.microsoft.com/office/2007/relationships/hdphoto" Target="../media/hdphoto30.wdp"/><Relationship Id="rId79" Type="http://schemas.openxmlformats.org/officeDocument/2006/relationships/image" Target="../media/image50.png"/><Relationship Id="rId102" Type="http://schemas.microsoft.com/office/2007/relationships/hdphoto" Target="../media/hdphoto40.wdp"/><Relationship Id="rId5" Type="http://schemas.openxmlformats.org/officeDocument/2006/relationships/image" Target="../media/image1.emf"/><Relationship Id="rId90" Type="http://schemas.openxmlformats.org/officeDocument/2006/relationships/image" Target="../media/image57.png"/><Relationship Id="rId95" Type="http://schemas.microsoft.com/office/2007/relationships/hdphoto" Target="../media/hdphoto37.wdp"/><Relationship Id="rId22" Type="http://schemas.openxmlformats.org/officeDocument/2006/relationships/image" Target="../media/image17.png"/><Relationship Id="rId27" Type="http://schemas.microsoft.com/office/2007/relationships/hdphoto" Target="../media/hdphoto9.wdp"/><Relationship Id="rId43" Type="http://schemas.microsoft.com/office/2007/relationships/hdphoto" Target="../media/hdphoto17.wdp"/><Relationship Id="rId48" Type="http://schemas.microsoft.com/office/2007/relationships/hdphoto" Target="../media/hdphoto19.wdp"/><Relationship Id="rId64" Type="http://schemas.openxmlformats.org/officeDocument/2006/relationships/image" Target="../media/image39.png"/><Relationship Id="rId69" Type="http://schemas.microsoft.com/office/2007/relationships/hdphoto" Target="../media/hdphoto29.wdp"/><Relationship Id="rId80" Type="http://schemas.openxmlformats.org/officeDocument/2006/relationships/image" Target="../media/image51.png"/><Relationship Id="rId85" Type="http://schemas.microsoft.com/office/2007/relationships/hdphoto" Target="../media/hdphoto32.wdp"/><Relationship Id="rId12" Type="http://schemas.openxmlformats.org/officeDocument/2006/relationships/image" Target="../media/image11.png"/><Relationship Id="rId17" Type="http://schemas.openxmlformats.org/officeDocument/2006/relationships/image" Target="../media/image14.png"/><Relationship Id="rId33" Type="http://schemas.microsoft.com/office/2007/relationships/hdphoto" Target="../media/hdphoto12.wdp"/><Relationship Id="rId38" Type="http://schemas.openxmlformats.org/officeDocument/2006/relationships/image" Target="../media/image25.png"/><Relationship Id="rId59" Type="http://schemas.microsoft.com/office/2007/relationships/hdphoto" Target="../media/hdphoto24.wdp"/><Relationship Id="rId103" Type="http://schemas.openxmlformats.org/officeDocument/2006/relationships/image" Target="../media/image64.png"/><Relationship Id="rId20" Type="http://schemas.microsoft.com/office/2007/relationships/hdphoto" Target="../media/hdphoto6.wdp"/><Relationship Id="rId41" Type="http://schemas.microsoft.com/office/2007/relationships/hdphoto" Target="../media/hdphoto16.wdp"/><Relationship Id="rId54" Type="http://schemas.microsoft.com/office/2007/relationships/hdphoto" Target="../media/hdphoto22.wdp"/><Relationship Id="rId62" Type="http://schemas.openxmlformats.org/officeDocument/2006/relationships/image" Target="../media/image38.png"/><Relationship Id="rId70" Type="http://schemas.openxmlformats.org/officeDocument/2006/relationships/image" Target="../media/image42.png"/><Relationship Id="rId75" Type="http://schemas.openxmlformats.org/officeDocument/2006/relationships/image" Target="../media/image46.png"/><Relationship Id="rId83" Type="http://schemas.microsoft.com/office/2007/relationships/hdphoto" Target="../media/hdphoto31.wdp"/><Relationship Id="rId88" Type="http://schemas.openxmlformats.org/officeDocument/2006/relationships/image" Target="../media/image56.png"/><Relationship Id="rId91" Type="http://schemas.microsoft.com/office/2007/relationships/hdphoto" Target="../media/hdphoto35.wdp"/><Relationship Id="rId96" Type="http://schemas.openxmlformats.org/officeDocument/2006/relationships/image" Target="../media/image60.png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15" Type="http://schemas.openxmlformats.org/officeDocument/2006/relationships/image" Target="../media/image13.png"/><Relationship Id="rId23" Type="http://schemas.microsoft.com/office/2007/relationships/hdphoto" Target="../media/hdphoto7.wdp"/><Relationship Id="rId28" Type="http://schemas.openxmlformats.org/officeDocument/2006/relationships/image" Target="../media/image20.png"/><Relationship Id="rId36" Type="http://schemas.openxmlformats.org/officeDocument/2006/relationships/image" Target="../media/image24.png"/><Relationship Id="rId49" Type="http://schemas.openxmlformats.org/officeDocument/2006/relationships/image" Target="../media/image31.png"/><Relationship Id="rId57" Type="http://schemas.microsoft.com/office/2007/relationships/hdphoto" Target="../media/hdphoto23.wdp"/><Relationship Id="rId106" Type="http://schemas.microsoft.com/office/2007/relationships/hdphoto" Target="../media/hdphoto41.wdp"/><Relationship Id="rId10" Type="http://schemas.microsoft.com/office/2007/relationships/hdphoto" Target="../media/hdphoto2.wdp"/><Relationship Id="rId31" Type="http://schemas.microsoft.com/office/2007/relationships/hdphoto" Target="../media/hdphoto11.wdp"/><Relationship Id="rId44" Type="http://schemas.openxmlformats.org/officeDocument/2006/relationships/image" Target="../media/image28.png"/><Relationship Id="rId52" Type="http://schemas.microsoft.com/office/2007/relationships/hdphoto" Target="../media/hdphoto21.wdp"/><Relationship Id="rId60" Type="http://schemas.openxmlformats.org/officeDocument/2006/relationships/image" Target="../media/image37.png"/><Relationship Id="rId65" Type="http://schemas.microsoft.com/office/2007/relationships/hdphoto" Target="../media/hdphoto27.wdp"/><Relationship Id="rId73" Type="http://schemas.openxmlformats.org/officeDocument/2006/relationships/image" Target="../media/image45.png"/><Relationship Id="rId78" Type="http://schemas.openxmlformats.org/officeDocument/2006/relationships/image" Target="../media/image49.png"/><Relationship Id="rId81" Type="http://schemas.openxmlformats.org/officeDocument/2006/relationships/image" Target="../media/image52.png"/><Relationship Id="rId86" Type="http://schemas.openxmlformats.org/officeDocument/2006/relationships/image" Target="../media/image55.png"/><Relationship Id="rId94" Type="http://schemas.openxmlformats.org/officeDocument/2006/relationships/image" Target="../media/image59.png"/><Relationship Id="rId99" Type="http://schemas.microsoft.com/office/2007/relationships/hdphoto" Target="../media/hdphoto39.wdp"/><Relationship Id="rId101" Type="http://schemas.openxmlformats.org/officeDocument/2006/relationships/image" Target="../media/image63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9.png"/><Relationship Id="rId13" Type="http://schemas.openxmlformats.org/officeDocument/2006/relationships/image" Target="../media/image12.png"/><Relationship Id="rId18" Type="http://schemas.microsoft.com/office/2007/relationships/hdphoto" Target="../media/hdphoto5.wdp"/><Relationship Id="rId39" Type="http://schemas.microsoft.com/office/2007/relationships/hdphoto" Target="../media/hdphoto15.wdp"/><Relationship Id="rId34" Type="http://schemas.openxmlformats.org/officeDocument/2006/relationships/image" Target="../media/image23.png"/><Relationship Id="rId50" Type="http://schemas.microsoft.com/office/2007/relationships/hdphoto" Target="../media/hdphoto20.wdp"/><Relationship Id="rId55" Type="http://schemas.openxmlformats.org/officeDocument/2006/relationships/image" Target="../media/image34.png"/><Relationship Id="rId76" Type="http://schemas.openxmlformats.org/officeDocument/2006/relationships/image" Target="../media/image47.png"/><Relationship Id="rId97" Type="http://schemas.microsoft.com/office/2007/relationships/hdphoto" Target="../media/hdphoto38.wdp"/><Relationship Id="rId104" Type="http://schemas.openxmlformats.org/officeDocument/2006/relationships/image" Target="../media/image65.png"/><Relationship Id="rId7" Type="http://schemas.openxmlformats.org/officeDocument/2006/relationships/image" Target="../media/image8.png"/><Relationship Id="rId71" Type="http://schemas.openxmlformats.org/officeDocument/2006/relationships/image" Target="../media/image43.png"/><Relationship Id="rId92" Type="http://schemas.openxmlformats.org/officeDocument/2006/relationships/image" Target="../media/image58.png"/><Relationship Id="rId2" Type="http://schemas.openxmlformats.org/officeDocument/2006/relationships/slideLayout" Target="../slideLayouts/slideLayout13.xml"/><Relationship Id="rId29" Type="http://schemas.microsoft.com/office/2007/relationships/hdphoto" Target="../media/hdphoto10.wdp"/><Relationship Id="rId24" Type="http://schemas.openxmlformats.org/officeDocument/2006/relationships/image" Target="../media/image18.png"/><Relationship Id="rId40" Type="http://schemas.openxmlformats.org/officeDocument/2006/relationships/image" Target="../media/image26.png"/><Relationship Id="rId45" Type="http://schemas.openxmlformats.org/officeDocument/2006/relationships/image" Target="../media/image29.png"/><Relationship Id="rId66" Type="http://schemas.openxmlformats.org/officeDocument/2006/relationships/image" Target="../media/image40.png"/><Relationship Id="rId87" Type="http://schemas.microsoft.com/office/2007/relationships/hdphoto" Target="../media/hdphoto33.wdp"/><Relationship Id="rId61" Type="http://schemas.microsoft.com/office/2007/relationships/hdphoto" Target="../media/hdphoto25.wdp"/><Relationship Id="rId82" Type="http://schemas.openxmlformats.org/officeDocument/2006/relationships/image" Target="../media/image53.png"/><Relationship Id="rId19" Type="http://schemas.openxmlformats.org/officeDocument/2006/relationships/image" Target="../media/image15.png"/><Relationship Id="rId14" Type="http://schemas.microsoft.com/office/2007/relationships/hdphoto" Target="../media/hdphoto3.wdp"/><Relationship Id="rId30" Type="http://schemas.openxmlformats.org/officeDocument/2006/relationships/image" Target="../media/image21.png"/><Relationship Id="rId35" Type="http://schemas.microsoft.com/office/2007/relationships/hdphoto" Target="../media/hdphoto13.wdp"/><Relationship Id="rId56" Type="http://schemas.openxmlformats.org/officeDocument/2006/relationships/image" Target="../media/image35.png"/><Relationship Id="rId77" Type="http://schemas.openxmlformats.org/officeDocument/2006/relationships/image" Target="../media/image48.png"/><Relationship Id="rId100" Type="http://schemas.openxmlformats.org/officeDocument/2006/relationships/image" Target="../media/image62.png"/><Relationship Id="rId105" Type="http://schemas.openxmlformats.org/officeDocument/2006/relationships/image" Target="../media/image66.png"/><Relationship Id="rId8" Type="http://schemas.microsoft.com/office/2007/relationships/hdphoto" Target="../media/hdphoto1.wdp"/><Relationship Id="rId51" Type="http://schemas.openxmlformats.org/officeDocument/2006/relationships/image" Target="../media/image32.png"/><Relationship Id="rId72" Type="http://schemas.openxmlformats.org/officeDocument/2006/relationships/image" Target="../media/image44.png"/><Relationship Id="rId93" Type="http://schemas.microsoft.com/office/2007/relationships/hdphoto" Target="../media/hdphoto36.wdp"/><Relationship Id="rId98" Type="http://schemas.openxmlformats.org/officeDocument/2006/relationships/image" Target="../media/image61.png"/><Relationship Id="rId3" Type="http://schemas.openxmlformats.org/officeDocument/2006/relationships/notesSlide" Target="../notesSlides/notesSlide1.xml"/><Relationship Id="rId25" Type="http://schemas.microsoft.com/office/2007/relationships/hdphoto" Target="../media/hdphoto8.wdp"/><Relationship Id="rId46" Type="http://schemas.microsoft.com/office/2007/relationships/hdphoto" Target="../media/hdphoto18.wdp"/><Relationship Id="rId67" Type="http://schemas.microsoft.com/office/2007/relationships/hdphoto" Target="../media/hdphoto28.wdp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85.png"/><Relationship Id="rId21" Type="http://schemas.openxmlformats.org/officeDocument/2006/relationships/image" Target="../media/image12.png"/><Relationship Id="rId42" Type="http://schemas.openxmlformats.org/officeDocument/2006/relationships/image" Target="../media/image22.png"/><Relationship Id="rId63" Type="http://schemas.microsoft.com/office/2007/relationships/hdphoto" Target="../media/hdphoto16.wdp"/><Relationship Id="rId84" Type="http://schemas.microsoft.com/office/2007/relationships/hdphoto" Target="../media/hdphoto21.wdp"/><Relationship Id="rId138" Type="http://schemas.openxmlformats.org/officeDocument/2006/relationships/image" Target="../media/image93.png"/><Relationship Id="rId107" Type="http://schemas.openxmlformats.org/officeDocument/2006/relationships/image" Target="../media/image80.png"/><Relationship Id="rId11" Type="http://schemas.microsoft.com/office/2007/relationships/hdphoto" Target="../media/hdphoto38.wdp"/><Relationship Id="rId32" Type="http://schemas.openxmlformats.org/officeDocument/2006/relationships/image" Target="../media/image18.png"/><Relationship Id="rId53" Type="http://schemas.microsoft.com/office/2007/relationships/hdphoto" Target="../media/hdphoto34.wdp"/><Relationship Id="rId74" Type="http://schemas.microsoft.com/office/2007/relationships/hdphoto" Target="../media/hdphoto48.wdp"/><Relationship Id="rId128" Type="http://schemas.microsoft.com/office/2007/relationships/hdphoto" Target="../media/hdphoto58.wdp"/><Relationship Id="rId5" Type="http://schemas.openxmlformats.org/officeDocument/2006/relationships/image" Target="../media/image1.emf"/><Relationship Id="rId90" Type="http://schemas.microsoft.com/office/2007/relationships/hdphoto" Target="../media/hdphoto23.wdp"/><Relationship Id="rId95" Type="http://schemas.openxmlformats.org/officeDocument/2006/relationships/image" Target="../media/image38.png"/><Relationship Id="rId22" Type="http://schemas.microsoft.com/office/2007/relationships/hdphoto" Target="../media/hdphoto3.wdp"/><Relationship Id="rId27" Type="http://schemas.openxmlformats.org/officeDocument/2006/relationships/image" Target="../media/image15.png"/><Relationship Id="rId43" Type="http://schemas.microsoft.com/office/2007/relationships/hdphoto" Target="../media/hdphoto12.wdp"/><Relationship Id="rId48" Type="http://schemas.openxmlformats.org/officeDocument/2006/relationships/image" Target="../media/image70.png"/><Relationship Id="rId64" Type="http://schemas.openxmlformats.org/officeDocument/2006/relationships/image" Target="../media/image27.png"/><Relationship Id="rId69" Type="http://schemas.openxmlformats.org/officeDocument/2006/relationships/image" Target="../media/image73.png"/><Relationship Id="rId113" Type="http://schemas.openxmlformats.org/officeDocument/2006/relationships/image" Target="../media/image83.png"/><Relationship Id="rId118" Type="http://schemas.openxmlformats.org/officeDocument/2006/relationships/image" Target="../media/image86.png"/><Relationship Id="rId134" Type="http://schemas.openxmlformats.org/officeDocument/2006/relationships/image" Target="../media/image92.png"/><Relationship Id="rId139" Type="http://schemas.microsoft.com/office/2007/relationships/hdphoto" Target="../media/hdphoto62.wdp"/><Relationship Id="rId80" Type="http://schemas.microsoft.com/office/2007/relationships/hdphoto" Target="../media/hdphoto31.wdp"/><Relationship Id="rId85" Type="http://schemas.openxmlformats.org/officeDocument/2006/relationships/image" Target="../media/image33.png"/><Relationship Id="rId12" Type="http://schemas.openxmlformats.org/officeDocument/2006/relationships/image" Target="../media/image61.png"/><Relationship Id="rId17" Type="http://schemas.openxmlformats.org/officeDocument/2006/relationships/image" Target="../media/image45.png"/><Relationship Id="rId33" Type="http://schemas.microsoft.com/office/2007/relationships/hdphoto" Target="../media/hdphoto8.wdp"/><Relationship Id="rId38" Type="http://schemas.openxmlformats.org/officeDocument/2006/relationships/image" Target="../media/image20.png"/><Relationship Id="rId59" Type="http://schemas.microsoft.com/office/2007/relationships/hdphoto" Target="../media/hdphoto14.wdp"/><Relationship Id="rId103" Type="http://schemas.openxmlformats.org/officeDocument/2006/relationships/image" Target="../media/image78.png"/><Relationship Id="rId108" Type="http://schemas.microsoft.com/office/2007/relationships/hdphoto" Target="../media/hdphoto51.wdp"/><Relationship Id="rId124" Type="http://schemas.microsoft.com/office/2007/relationships/hdphoto" Target="../media/hdphoto2.wdp"/><Relationship Id="rId129" Type="http://schemas.openxmlformats.org/officeDocument/2006/relationships/image" Target="../media/image90.png"/><Relationship Id="rId54" Type="http://schemas.openxmlformats.org/officeDocument/2006/relationships/image" Target="../media/image71.png"/><Relationship Id="rId70" Type="http://schemas.microsoft.com/office/2007/relationships/hdphoto" Target="../media/hdphoto46.wdp"/><Relationship Id="rId75" Type="http://schemas.openxmlformats.org/officeDocument/2006/relationships/image" Target="../media/image29.png"/><Relationship Id="rId91" Type="http://schemas.openxmlformats.org/officeDocument/2006/relationships/image" Target="../media/image36.png"/><Relationship Id="rId96" Type="http://schemas.microsoft.com/office/2007/relationships/hdphoto" Target="../media/hdphoto26.wdp"/><Relationship Id="rId140" Type="http://schemas.openxmlformats.org/officeDocument/2006/relationships/image" Target="../media/image94.png"/><Relationship Id="rId145" Type="http://schemas.openxmlformats.org/officeDocument/2006/relationships/image" Target="../media/image98.png"/><Relationship Id="rId1" Type="http://schemas.openxmlformats.org/officeDocument/2006/relationships/tags" Target="../tags/tag8.xml"/><Relationship Id="rId6" Type="http://schemas.openxmlformats.org/officeDocument/2006/relationships/image" Target="../media/image58.png"/><Relationship Id="rId23" Type="http://schemas.openxmlformats.org/officeDocument/2006/relationships/image" Target="../media/image13.png"/><Relationship Id="rId28" Type="http://schemas.microsoft.com/office/2007/relationships/hdphoto" Target="../media/hdphoto6.wdp"/><Relationship Id="rId49" Type="http://schemas.microsoft.com/office/2007/relationships/hdphoto" Target="../media/hdphoto43.wdp"/><Relationship Id="rId114" Type="http://schemas.microsoft.com/office/2007/relationships/hdphoto" Target="../media/hdphoto54.wdp"/><Relationship Id="rId119" Type="http://schemas.openxmlformats.org/officeDocument/2006/relationships/image" Target="../media/image8.png"/><Relationship Id="rId44" Type="http://schemas.openxmlformats.org/officeDocument/2006/relationships/image" Target="../media/image23.png"/><Relationship Id="rId60" Type="http://schemas.openxmlformats.org/officeDocument/2006/relationships/image" Target="../media/image25.png"/><Relationship Id="rId65" Type="http://schemas.microsoft.com/office/2007/relationships/hdphoto" Target="../media/hdphoto17.wdp"/><Relationship Id="rId81" Type="http://schemas.openxmlformats.org/officeDocument/2006/relationships/image" Target="../media/image31.png"/><Relationship Id="rId86" Type="http://schemas.microsoft.com/office/2007/relationships/hdphoto" Target="../media/hdphoto22.wdp"/><Relationship Id="rId130" Type="http://schemas.microsoft.com/office/2007/relationships/hdphoto" Target="../media/hdphoto59.wdp"/><Relationship Id="rId135" Type="http://schemas.microsoft.com/office/2007/relationships/hdphoto" Target="../media/hdphoto61.wdp"/><Relationship Id="rId13" Type="http://schemas.microsoft.com/office/2007/relationships/hdphoto" Target="../media/hdphoto39.wdp"/><Relationship Id="rId18" Type="http://schemas.openxmlformats.org/officeDocument/2006/relationships/image" Target="../media/image63.png"/><Relationship Id="rId39" Type="http://schemas.microsoft.com/office/2007/relationships/hdphoto" Target="../media/hdphoto10.wdp"/><Relationship Id="rId109" Type="http://schemas.openxmlformats.org/officeDocument/2006/relationships/image" Target="../media/image81.png"/><Relationship Id="rId34" Type="http://schemas.openxmlformats.org/officeDocument/2006/relationships/image" Target="../media/image69.png"/><Relationship Id="rId50" Type="http://schemas.openxmlformats.org/officeDocument/2006/relationships/image" Target="../media/image55.png"/><Relationship Id="rId55" Type="http://schemas.microsoft.com/office/2007/relationships/hdphoto" Target="../media/hdphoto44.wdp"/><Relationship Id="rId76" Type="http://schemas.microsoft.com/office/2007/relationships/hdphoto" Target="../media/hdphoto18.wdp"/><Relationship Id="rId97" Type="http://schemas.openxmlformats.org/officeDocument/2006/relationships/image" Target="../media/image39.png"/><Relationship Id="rId104" Type="http://schemas.microsoft.com/office/2007/relationships/hdphoto" Target="../media/hdphoto49.wdp"/><Relationship Id="rId120" Type="http://schemas.microsoft.com/office/2007/relationships/hdphoto" Target="../media/hdphoto1.wdp"/><Relationship Id="rId125" Type="http://schemas.openxmlformats.org/officeDocument/2006/relationships/image" Target="../media/image88.png"/><Relationship Id="rId141" Type="http://schemas.openxmlformats.org/officeDocument/2006/relationships/image" Target="../media/image95.png"/><Relationship Id="rId7" Type="http://schemas.microsoft.com/office/2007/relationships/hdphoto" Target="../media/hdphoto36.wdp"/><Relationship Id="rId71" Type="http://schemas.openxmlformats.org/officeDocument/2006/relationships/image" Target="../media/image74.png"/><Relationship Id="rId92" Type="http://schemas.microsoft.com/office/2007/relationships/hdphoto" Target="../media/hdphoto24.wdp"/><Relationship Id="rId2" Type="http://schemas.openxmlformats.org/officeDocument/2006/relationships/slideLayout" Target="../slideLayouts/slideLayout13.xml"/><Relationship Id="rId29" Type="http://schemas.openxmlformats.org/officeDocument/2006/relationships/image" Target="../media/image16.png"/><Relationship Id="rId24" Type="http://schemas.microsoft.com/office/2007/relationships/hdphoto" Target="../media/hdphoto4.wdp"/><Relationship Id="rId40" Type="http://schemas.openxmlformats.org/officeDocument/2006/relationships/image" Target="../media/image21.png"/><Relationship Id="rId45" Type="http://schemas.microsoft.com/office/2007/relationships/hdphoto" Target="../media/hdphoto13.wdp"/><Relationship Id="rId66" Type="http://schemas.openxmlformats.org/officeDocument/2006/relationships/image" Target="../media/image28.png"/><Relationship Id="rId87" Type="http://schemas.openxmlformats.org/officeDocument/2006/relationships/image" Target="../media/image34.png"/><Relationship Id="rId110" Type="http://schemas.microsoft.com/office/2007/relationships/hdphoto" Target="../media/hdphoto52.wdp"/><Relationship Id="rId115" Type="http://schemas.openxmlformats.org/officeDocument/2006/relationships/image" Target="../media/image84.png"/><Relationship Id="rId131" Type="http://schemas.openxmlformats.org/officeDocument/2006/relationships/image" Target="../media/image91.png"/><Relationship Id="rId136" Type="http://schemas.openxmlformats.org/officeDocument/2006/relationships/image" Target="../media/image41.png"/><Relationship Id="rId61" Type="http://schemas.microsoft.com/office/2007/relationships/hdphoto" Target="../media/hdphoto15.wdp"/><Relationship Id="rId82" Type="http://schemas.microsoft.com/office/2007/relationships/hdphoto" Target="../media/hdphoto20.wdp"/><Relationship Id="rId19" Type="http://schemas.microsoft.com/office/2007/relationships/hdphoto" Target="../media/hdphoto40.wdp"/><Relationship Id="rId14" Type="http://schemas.openxmlformats.org/officeDocument/2006/relationships/image" Target="../media/image62.png"/><Relationship Id="rId30" Type="http://schemas.openxmlformats.org/officeDocument/2006/relationships/image" Target="../media/image17.png"/><Relationship Id="rId35" Type="http://schemas.microsoft.com/office/2007/relationships/hdphoto" Target="../media/hdphoto42.wdp"/><Relationship Id="rId56" Type="http://schemas.openxmlformats.org/officeDocument/2006/relationships/image" Target="../media/image57.png"/><Relationship Id="rId77" Type="http://schemas.openxmlformats.org/officeDocument/2006/relationships/image" Target="../media/image30.png"/><Relationship Id="rId100" Type="http://schemas.microsoft.com/office/2007/relationships/hdphoto" Target="../media/hdphoto28.wdp"/><Relationship Id="rId105" Type="http://schemas.openxmlformats.org/officeDocument/2006/relationships/image" Target="../media/image79.png"/><Relationship Id="rId126" Type="http://schemas.microsoft.com/office/2007/relationships/hdphoto" Target="../media/hdphoto57.wdp"/><Relationship Id="rId8" Type="http://schemas.openxmlformats.org/officeDocument/2006/relationships/image" Target="../media/image59.png"/><Relationship Id="rId51" Type="http://schemas.microsoft.com/office/2007/relationships/hdphoto" Target="../media/hdphoto33.wdp"/><Relationship Id="rId72" Type="http://schemas.microsoft.com/office/2007/relationships/hdphoto" Target="../media/hdphoto47.wdp"/><Relationship Id="rId93" Type="http://schemas.openxmlformats.org/officeDocument/2006/relationships/image" Target="../media/image37.png"/><Relationship Id="rId98" Type="http://schemas.microsoft.com/office/2007/relationships/hdphoto" Target="../media/hdphoto27.wdp"/><Relationship Id="rId121" Type="http://schemas.openxmlformats.org/officeDocument/2006/relationships/image" Target="../media/image87.png"/><Relationship Id="rId142" Type="http://schemas.microsoft.com/office/2007/relationships/hdphoto" Target="../media/hdphoto63.wdp"/><Relationship Id="rId3" Type="http://schemas.openxmlformats.org/officeDocument/2006/relationships/notesSlide" Target="../notesSlides/notesSlide2.xml"/><Relationship Id="rId25" Type="http://schemas.openxmlformats.org/officeDocument/2006/relationships/image" Target="../media/image14.png"/><Relationship Id="rId46" Type="http://schemas.openxmlformats.org/officeDocument/2006/relationships/image" Target="../media/image54.png"/><Relationship Id="rId67" Type="http://schemas.openxmlformats.org/officeDocument/2006/relationships/image" Target="../media/image72.png"/><Relationship Id="rId116" Type="http://schemas.microsoft.com/office/2007/relationships/hdphoto" Target="../media/hdphoto55.wdp"/><Relationship Id="rId137" Type="http://schemas.microsoft.com/office/2007/relationships/hdphoto" Target="../media/hdphoto29.wdp"/><Relationship Id="rId20" Type="http://schemas.openxmlformats.org/officeDocument/2006/relationships/image" Target="../media/image64.png"/><Relationship Id="rId41" Type="http://schemas.microsoft.com/office/2007/relationships/hdphoto" Target="../media/hdphoto11.wdp"/><Relationship Id="rId62" Type="http://schemas.openxmlformats.org/officeDocument/2006/relationships/image" Target="../media/image26.png"/><Relationship Id="rId83" Type="http://schemas.openxmlformats.org/officeDocument/2006/relationships/image" Target="../media/image32.png"/><Relationship Id="rId88" Type="http://schemas.openxmlformats.org/officeDocument/2006/relationships/image" Target="../media/image76.png"/><Relationship Id="rId111" Type="http://schemas.openxmlformats.org/officeDocument/2006/relationships/image" Target="../media/image82.png"/><Relationship Id="rId132" Type="http://schemas.microsoft.com/office/2007/relationships/hdphoto" Target="../media/hdphoto60.wdp"/><Relationship Id="rId15" Type="http://schemas.openxmlformats.org/officeDocument/2006/relationships/image" Target="../media/image68.png"/><Relationship Id="rId36" Type="http://schemas.openxmlformats.org/officeDocument/2006/relationships/image" Target="../media/image19.png"/><Relationship Id="rId57" Type="http://schemas.microsoft.com/office/2007/relationships/hdphoto" Target="../media/hdphoto35.wdp"/><Relationship Id="rId106" Type="http://schemas.microsoft.com/office/2007/relationships/hdphoto" Target="../media/hdphoto50.wdp"/><Relationship Id="rId127" Type="http://schemas.openxmlformats.org/officeDocument/2006/relationships/image" Target="../media/image89.png"/><Relationship Id="rId10" Type="http://schemas.openxmlformats.org/officeDocument/2006/relationships/image" Target="../media/image60.png"/><Relationship Id="rId31" Type="http://schemas.microsoft.com/office/2007/relationships/hdphoto" Target="../media/hdphoto7.wdp"/><Relationship Id="rId52" Type="http://schemas.openxmlformats.org/officeDocument/2006/relationships/image" Target="../media/image56.png"/><Relationship Id="rId73" Type="http://schemas.openxmlformats.org/officeDocument/2006/relationships/image" Target="../media/image75.png"/><Relationship Id="rId78" Type="http://schemas.microsoft.com/office/2007/relationships/hdphoto" Target="../media/hdphoto19.wdp"/><Relationship Id="rId94" Type="http://schemas.microsoft.com/office/2007/relationships/hdphoto" Target="../media/hdphoto25.wdp"/><Relationship Id="rId99" Type="http://schemas.openxmlformats.org/officeDocument/2006/relationships/image" Target="../media/image40.png"/><Relationship Id="rId101" Type="http://schemas.openxmlformats.org/officeDocument/2006/relationships/image" Target="../media/image77.png"/><Relationship Id="rId122" Type="http://schemas.microsoft.com/office/2007/relationships/hdphoto" Target="../media/hdphoto56.wdp"/><Relationship Id="rId143" Type="http://schemas.openxmlformats.org/officeDocument/2006/relationships/image" Target="../media/image96.png"/><Relationship Id="rId4" Type="http://schemas.openxmlformats.org/officeDocument/2006/relationships/oleObject" Target="../embeddings/oleObject7.bin"/><Relationship Id="rId9" Type="http://schemas.microsoft.com/office/2007/relationships/hdphoto" Target="../media/hdphoto37.wdp"/><Relationship Id="rId26" Type="http://schemas.microsoft.com/office/2007/relationships/hdphoto" Target="../media/hdphoto5.wdp"/><Relationship Id="rId47" Type="http://schemas.microsoft.com/office/2007/relationships/hdphoto" Target="../media/hdphoto32.wdp"/><Relationship Id="rId68" Type="http://schemas.microsoft.com/office/2007/relationships/hdphoto" Target="../media/hdphoto45.wdp"/><Relationship Id="rId89" Type="http://schemas.openxmlformats.org/officeDocument/2006/relationships/image" Target="../media/image35.png"/><Relationship Id="rId112" Type="http://schemas.microsoft.com/office/2007/relationships/hdphoto" Target="../media/hdphoto53.wdp"/><Relationship Id="rId133" Type="http://schemas.openxmlformats.org/officeDocument/2006/relationships/image" Target="../media/image10.png"/><Relationship Id="rId16" Type="http://schemas.microsoft.com/office/2007/relationships/hdphoto" Target="../media/hdphoto30.wdp"/><Relationship Id="rId37" Type="http://schemas.microsoft.com/office/2007/relationships/hdphoto" Target="../media/hdphoto9.wdp"/><Relationship Id="rId58" Type="http://schemas.openxmlformats.org/officeDocument/2006/relationships/image" Target="../media/image24.png"/><Relationship Id="rId79" Type="http://schemas.openxmlformats.org/officeDocument/2006/relationships/image" Target="../media/image53.png"/><Relationship Id="rId102" Type="http://schemas.microsoft.com/office/2007/relationships/hdphoto" Target="../media/hdphoto41.wdp"/><Relationship Id="rId123" Type="http://schemas.openxmlformats.org/officeDocument/2006/relationships/image" Target="../media/image9.png"/><Relationship Id="rId144" Type="http://schemas.openxmlformats.org/officeDocument/2006/relationships/image" Target="../media/image9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>
            <a:extLst>
              <a:ext uri="{FF2B5EF4-FFF2-40B4-BE49-F238E27FC236}">
                <a16:creationId xmlns:a16="http://schemas.microsoft.com/office/drawing/2014/main" id="{B00E0E1F-AB25-88E0-1EB2-B62089EB4F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6174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Rectangle 70">
            <a:extLst>
              <a:ext uri="{FF2B5EF4-FFF2-40B4-BE49-F238E27FC236}">
                <a16:creationId xmlns:a16="http://schemas.microsoft.com/office/drawing/2014/main" id="{4A97D0A4-427F-F725-48F6-CCA9F276DB9F}"/>
              </a:ext>
            </a:extLst>
          </p:cNvPr>
          <p:cNvSpPr/>
          <p:nvPr/>
        </p:nvSpPr>
        <p:spPr>
          <a:xfrm>
            <a:off x="10559959" y="1772275"/>
            <a:ext cx="1371600" cy="50292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203BAB3E-FEFD-1642-AB47-798317A20DBB}"/>
              </a:ext>
            </a:extLst>
          </p:cNvPr>
          <p:cNvSpPr/>
          <p:nvPr/>
        </p:nvSpPr>
        <p:spPr>
          <a:xfrm>
            <a:off x="7609338" y="1780656"/>
            <a:ext cx="2743200" cy="50292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E0B2702-C9B4-C6AE-5C38-9FCA13163488}"/>
              </a:ext>
            </a:extLst>
          </p:cNvPr>
          <p:cNvSpPr/>
          <p:nvPr/>
        </p:nvSpPr>
        <p:spPr>
          <a:xfrm>
            <a:off x="6168262" y="1780656"/>
            <a:ext cx="1371600" cy="50292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B9223284-BAA9-3A26-75A5-831534381B9C}"/>
              </a:ext>
            </a:extLst>
          </p:cNvPr>
          <p:cNvSpPr/>
          <p:nvPr/>
        </p:nvSpPr>
        <p:spPr>
          <a:xfrm>
            <a:off x="3188584" y="1780656"/>
            <a:ext cx="1371600" cy="50292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0A2C0F0-CFC2-3144-1BE6-CE13F852E935}"/>
              </a:ext>
            </a:extLst>
          </p:cNvPr>
          <p:cNvSpPr/>
          <p:nvPr/>
        </p:nvSpPr>
        <p:spPr>
          <a:xfrm>
            <a:off x="1623882" y="1789374"/>
            <a:ext cx="1371600" cy="50292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52321776-F9B2-96F4-4F2A-9B0F58A059A9}"/>
              </a:ext>
            </a:extLst>
          </p:cNvPr>
          <p:cNvSpPr/>
          <p:nvPr/>
        </p:nvSpPr>
        <p:spPr>
          <a:xfrm>
            <a:off x="191322" y="1780656"/>
            <a:ext cx="1371600" cy="50292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EA95A8E-60EB-F260-DB6C-94C3FEE15539}"/>
              </a:ext>
            </a:extLst>
          </p:cNvPr>
          <p:cNvSpPr/>
          <p:nvPr/>
        </p:nvSpPr>
        <p:spPr>
          <a:xfrm>
            <a:off x="235389" y="257269"/>
            <a:ext cx="5763801" cy="6246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cquire &amp; Organiz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F09B1E7-3EEB-D068-E0D0-B578B2CAA07C}"/>
              </a:ext>
            </a:extLst>
          </p:cNvPr>
          <p:cNvSpPr/>
          <p:nvPr/>
        </p:nvSpPr>
        <p:spPr>
          <a:xfrm>
            <a:off x="6185452" y="257269"/>
            <a:ext cx="4125022" cy="6246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nalyz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C01926A-606F-5E98-E8D4-695FF5C3B257}"/>
              </a:ext>
            </a:extLst>
          </p:cNvPr>
          <p:cNvSpPr/>
          <p:nvPr/>
        </p:nvSpPr>
        <p:spPr>
          <a:xfrm>
            <a:off x="10605679" y="257269"/>
            <a:ext cx="1280160" cy="6246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liv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C9BBA57-0221-0B40-86EA-412C3B84A072}"/>
              </a:ext>
            </a:extLst>
          </p:cNvPr>
          <p:cNvSpPr/>
          <p:nvPr/>
        </p:nvSpPr>
        <p:spPr>
          <a:xfrm>
            <a:off x="235390" y="1059662"/>
            <a:ext cx="1280160" cy="62468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Data Sourc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A2F9A1-4A3D-14B1-B13B-ACCBF6EEE2E6}"/>
              </a:ext>
            </a:extLst>
          </p:cNvPr>
          <p:cNvSpPr/>
          <p:nvPr/>
        </p:nvSpPr>
        <p:spPr>
          <a:xfrm>
            <a:off x="3212270" y="1059657"/>
            <a:ext cx="1280160" cy="62468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Data Gather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CB9E8E8-3CFE-AC00-EC63-C837ED0BE10D}"/>
              </a:ext>
            </a:extLst>
          </p:cNvPr>
          <p:cNvSpPr/>
          <p:nvPr/>
        </p:nvSpPr>
        <p:spPr>
          <a:xfrm>
            <a:off x="6185452" y="1059660"/>
            <a:ext cx="1280160" cy="624689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Data / Exploration</a:t>
            </a:r>
          </a:p>
          <a:p>
            <a:pPr algn="ctr"/>
            <a:r>
              <a:rPr lang="en-US" sz="1050" dirty="0"/>
              <a:t>Visualiz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2BBBC9-037A-6E17-18BC-DCFB0A7DEDC5}"/>
              </a:ext>
            </a:extLst>
          </p:cNvPr>
          <p:cNvSpPr/>
          <p:nvPr/>
        </p:nvSpPr>
        <p:spPr>
          <a:xfrm>
            <a:off x="7624823" y="1059660"/>
            <a:ext cx="2708100" cy="6246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Model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1335CE-1514-19D1-800D-2FAEEEDD995E}"/>
              </a:ext>
            </a:extLst>
          </p:cNvPr>
          <p:cNvSpPr/>
          <p:nvPr/>
        </p:nvSpPr>
        <p:spPr>
          <a:xfrm>
            <a:off x="10605679" y="1008413"/>
            <a:ext cx="1280160" cy="6246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Deploy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5354286-BAC6-884C-264A-C5517992A8B8}"/>
              </a:ext>
            </a:extLst>
          </p:cNvPr>
          <p:cNvSpPr/>
          <p:nvPr/>
        </p:nvSpPr>
        <p:spPr>
          <a:xfrm>
            <a:off x="1652312" y="1059660"/>
            <a:ext cx="1280160" cy="6246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Data Integra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6B20F36-477E-9DB7-55EB-0B26C2D22D16}"/>
              </a:ext>
            </a:extLst>
          </p:cNvPr>
          <p:cNvSpPr/>
          <p:nvPr/>
        </p:nvSpPr>
        <p:spPr>
          <a:xfrm>
            <a:off x="3234304" y="2919193"/>
            <a:ext cx="1280160" cy="62468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Structure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9DB9E08-7736-1594-BCD2-179DC927A3B4}"/>
              </a:ext>
            </a:extLst>
          </p:cNvPr>
          <p:cNvSpPr/>
          <p:nvPr/>
        </p:nvSpPr>
        <p:spPr>
          <a:xfrm>
            <a:off x="3234304" y="3956766"/>
            <a:ext cx="1280160" cy="62468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Semi- and Un-Structure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EF1C12A-2A2F-345A-157F-A6867952DD2D}"/>
              </a:ext>
            </a:extLst>
          </p:cNvPr>
          <p:cNvSpPr/>
          <p:nvPr/>
        </p:nvSpPr>
        <p:spPr>
          <a:xfrm>
            <a:off x="3234304" y="5020102"/>
            <a:ext cx="1280160" cy="62468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Streaming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41FFB74-3DFD-BDD7-DD02-BDA74F008694}"/>
              </a:ext>
            </a:extLst>
          </p:cNvPr>
          <p:cNvSpPr/>
          <p:nvPr/>
        </p:nvSpPr>
        <p:spPr>
          <a:xfrm>
            <a:off x="1669602" y="2398474"/>
            <a:ext cx="1280160" cy="6246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Batch Data Integr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514DAAC-0579-6E64-9BF3-551F86F4055F}"/>
              </a:ext>
            </a:extLst>
          </p:cNvPr>
          <p:cNvSpPr/>
          <p:nvPr/>
        </p:nvSpPr>
        <p:spPr>
          <a:xfrm>
            <a:off x="1669602" y="3956766"/>
            <a:ext cx="1280160" cy="62468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Stream Ingestion Real tim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AD9EDC4-E911-7B0A-B88B-08175BDD1933}"/>
              </a:ext>
            </a:extLst>
          </p:cNvPr>
          <p:cNvSpPr/>
          <p:nvPr/>
        </p:nvSpPr>
        <p:spPr>
          <a:xfrm>
            <a:off x="1669602" y="5515059"/>
            <a:ext cx="1280160" cy="6246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Message Broke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7C8730D-CC42-0428-F46E-2829A55F8C6B}"/>
              </a:ext>
            </a:extLst>
          </p:cNvPr>
          <p:cNvSpPr/>
          <p:nvPr/>
        </p:nvSpPr>
        <p:spPr>
          <a:xfrm>
            <a:off x="235390" y="1879809"/>
            <a:ext cx="1280160" cy="62468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ERP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1F42DF6-2727-9EB7-D8A3-192F74C5561D}"/>
              </a:ext>
            </a:extLst>
          </p:cNvPr>
          <p:cNvSpPr/>
          <p:nvPr/>
        </p:nvSpPr>
        <p:spPr>
          <a:xfrm>
            <a:off x="235390" y="3958579"/>
            <a:ext cx="1280160" cy="62468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Database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5C5E281-B3B8-118E-4C4F-766BE1AB41D1}"/>
              </a:ext>
            </a:extLst>
          </p:cNvPr>
          <p:cNvSpPr/>
          <p:nvPr/>
        </p:nvSpPr>
        <p:spPr>
          <a:xfrm>
            <a:off x="235390" y="4997964"/>
            <a:ext cx="1280160" cy="62468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External Source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FDAC36D-E5E2-A108-C4DA-CE865F9D6FBA}"/>
              </a:ext>
            </a:extLst>
          </p:cNvPr>
          <p:cNvSpPr/>
          <p:nvPr/>
        </p:nvSpPr>
        <p:spPr>
          <a:xfrm>
            <a:off x="235390" y="2919194"/>
            <a:ext cx="1280160" cy="62468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CRM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F4CE79A-57EA-A976-3B48-F00E31627D85}"/>
              </a:ext>
            </a:extLst>
          </p:cNvPr>
          <p:cNvSpPr/>
          <p:nvPr/>
        </p:nvSpPr>
        <p:spPr>
          <a:xfrm>
            <a:off x="235390" y="6037348"/>
            <a:ext cx="1280160" cy="62468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Fil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0192D1-683B-D9C7-DE6E-47AA5D5B9C0E}"/>
              </a:ext>
            </a:extLst>
          </p:cNvPr>
          <p:cNvSpPr/>
          <p:nvPr/>
        </p:nvSpPr>
        <p:spPr>
          <a:xfrm>
            <a:off x="7635841" y="4042323"/>
            <a:ext cx="1280160" cy="457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Machine Learning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2E40432-FCF5-AC58-4DB2-927230CA18C3}"/>
              </a:ext>
            </a:extLst>
          </p:cNvPr>
          <p:cNvSpPr/>
          <p:nvPr/>
        </p:nvSpPr>
        <p:spPr>
          <a:xfrm>
            <a:off x="9052763" y="4739189"/>
            <a:ext cx="1280160" cy="45720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Video/Image Analytic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9500327-0F8F-0D05-B187-B95BAB8463F1}"/>
              </a:ext>
            </a:extLst>
          </p:cNvPr>
          <p:cNvSpPr/>
          <p:nvPr/>
        </p:nvSpPr>
        <p:spPr>
          <a:xfrm>
            <a:off x="7635841" y="4763161"/>
            <a:ext cx="1280160" cy="45720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Deep Learn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0991E39-3551-E5F7-C8B2-02356B60702A}"/>
              </a:ext>
            </a:extLst>
          </p:cNvPr>
          <p:cNvSpPr/>
          <p:nvPr/>
        </p:nvSpPr>
        <p:spPr>
          <a:xfrm>
            <a:off x="9052763" y="4236238"/>
            <a:ext cx="1280160" cy="45720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Speech Analytic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EE742A8-0DFE-EDFE-A221-2A176A847AC2}"/>
              </a:ext>
            </a:extLst>
          </p:cNvPr>
          <p:cNvSpPr/>
          <p:nvPr/>
        </p:nvSpPr>
        <p:spPr>
          <a:xfrm>
            <a:off x="9052763" y="5242139"/>
            <a:ext cx="1280160" cy="45720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Text Analytic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F4F9AA5-3B47-9C87-8FF4-591BBD608851}"/>
              </a:ext>
            </a:extLst>
          </p:cNvPr>
          <p:cNvSpPr/>
          <p:nvPr/>
        </p:nvSpPr>
        <p:spPr>
          <a:xfrm>
            <a:off x="7635841" y="3321485"/>
            <a:ext cx="1280160" cy="457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Simulation</a:t>
            </a:r>
          </a:p>
          <a:p>
            <a:pPr algn="ctr"/>
            <a:r>
              <a:rPr lang="en-US" sz="1100" dirty="0"/>
              <a:t>and Optimization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4C8C452-749D-63D4-EE0A-EBAE27A8E5F6}"/>
              </a:ext>
            </a:extLst>
          </p:cNvPr>
          <p:cNvSpPr/>
          <p:nvPr/>
        </p:nvSpPr>
        <p:spPr>
          <a:xfrm>
            <a:off x="7624823" y="6204837"/>
            <a:ext cx="1280160" cy="457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Geospatial and</a:t>
            </a:r>
          </a:p>
          <a:p>
            <a:pPr algn="ctr"/>
            <a:r>
              <a:rPr lang="en-US" sz="1100" dirty="0"/>
              <a:t>Location Analytic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4BD019D-C472-AB3E-E0C8-7D47BC05E95B}"/>
              </a:ext>
            </a:extLst>
          </p:cNvPr>
          <p:cNvSpPr/>
          <p:nvPr/>
        </p:nvSpPr>
        <p:spPr>
          <a:xfrm>
            <a:off x="7635841" y="2600647"/>
            <a:ext cx="1280160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Predictive Analytic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A790E5D-FE8F-BF9E-7893-6F6D899FED1D}"/>
              </a:ext>
            </a:extLst>
          </p:cNvPr>
          <p:cNvSpPr/>
          <p:nvPr/>
        </p:nvSpPr>
        <p:spPr>
          <a:xfrm>
            <a:off x="7635841" y="5483999"/>
            <a:ext cx="1280160" cy="457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Graph Analytic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F245A06-1FF5-D2E2-CD8B-AB8CFF975B00}"/>
              </a:ext>
            </a:extLst>
          </p:cNvPr>
          <p:cNvSpPr/>
          <p:nvPr/>
        </p:nvSpPr>
        <p:spPr>
          <a:xfrm>
            <a:off x="7635841" y="1879809"/>
            <a:ext cx="1280160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Prescriptive Analytic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B45DB72-6C2C-25FE-6AFA-AB07DC72AF38}"/>
              </a:ext>
            </a:extLst>
          </p:cNvPr>
          <p:cNvSpPr/>
          <p:nvPr/>
        </p:nvSpPr>
        <p:spPr>
          <a:xfrm>
            <a:off x="6207901" y="1879809"/>
            <a:ext cx="1280160" cy="62468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Statistic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4E7810A-938A-BFD2-42B8-BE302DE60F65}"/>
              </a:ext>
            </a:extLst>
          </p:cNvPr>
          <p:cNvSpPr/>
          <p:nvPr/>
        </p:nvSpPr>
        <p:spPr>
          <a:xfrm>
            <a:off x="6207901" y="4482629"/>
            <a:ext cx="1280160" cy="624689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Dashboard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0153A64-F8AD-9412-B8F9-6AAF84B50E0B}"/>
              </a:ext>
            </a:extLst>
          </p:cNvPr>
          <p:cNvSpPr/>
          <p:nvPr/>
        </p:nvSpPr>
        <p:spPr>
          <a:xfrm>
            <a:off x="6185452" y="5784040"/>
            <a:ext cx="1280160" cy="624689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eal time Reporting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8E76124-A7F0-8CD1-529F-0B764E38F167}"/>
              </a:ext>
            </a:extLst>
          </p:cNvPr>
          <p:cNvSpPr/>
          <p:nvPr/>
        </p:nvSpPr>
        <p:spPr>
          <a:xfrm>
            <a:off x="10605679" y="5631016"/>
            <a:ext cx="1280160" cy="365760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Containerization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7B124848-3B8B-2F2C-7621-094AEB91261A}"/>
              </a:ext>
            </a:extLst>
          </p:cNvPr>
          <p:cNvSpPr/>
          <p:nvPr/>
        </p:nvSpPr>
        <p:spPr>
          <a:xfrm>
            <a:off x="10605679" y="5013168"/>
            <a:ext cx="128016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Security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5E8C177-925C-5D80-E830-D198140C3A57}"/>
              </a:ext>
            </a:extLst>
          </p:cNvPr>
          <p:cNvSpPr/>
          <p:nvPr/>
        </p:nvSpPr>
        <p:spPr>
          <a:xfrm>
            <a:off x="9052763" y="1890211"/>
            <a:ext cx="1280160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ecommendation System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17A778F-EC3C-53E1-7208-BF6302C817BD}"/>
              </a:ext>
            </a:extLst>
          </p:cNvPr>
          <p:cNvSpPr/>
          <p:nvPr/>
        </p:nvSpPr>
        <p:spPr>
          <a:xfrm>
            <a:off x="9052763" y="2431006"/>
            <a:ext cx="1280160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Time serie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69AB450-2865-5152-F285-15524D99EA79}"/>
              </a:ext>
            </a:extLst>
          </p:cNvPr>
          <p:cNvSpPr/>
          <p:nvPr/>
        </p:nvSpPr>
        <p:spPr>
          <a:xfrm>
            <a:off x="9052763" y="2971800"/>
            <a:ext cx="1280160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Segmentation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2D10AEC0-4830-3F0E-352C-3B5B3C805B94}"/>
              </a:ext>
            </a:extLst>
          </p:cNvPr>
          <p:cNvSpPr/>
          <p:nvPr/>
        </p:nvSpPr>
        <p:spPr>
          <a:xfrm>
            <a:off x="9052763" y="5747637"/>
            <a:ext cx="1280160" cy="45720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Sentimental/ Behavioral Analytic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0AAE4FA-2116-BE31-2C2D-00DF33E8BBA1}"/>
              </a:ext>
            </a:extLst>
          </p:cNvPr>
          <p:cNvSpPr/>
          <p:nvPr/>
        </p:nvSpPr>
        <p:spPr>
          <a:xfrm>
            <a:off x="4610087" y="1059658"/>
            <a:ext cx="1280160" cy="624689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Data Storag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47386268-23FA-70F6-2154-5E4E1C146AE9}"/>
              </a:ext>
            </a:extLst>
          </p:cNvPr>
          <p:cNvSpPr/>
          <p:nvPr/>
        </p:nvSpPr>
        <p:spPr>
          <a:xfrm>
            <a:off x="6204142" y="3181219"/>
            <a:ext cx="1280160" cy="624689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eport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5826E4CB-D253-0E84-73F1-FF1FB44CE222}"/>
              </a:ext>
            </a:extLst>
          </p:cNvPr>
          <p:cNvSpPr/>
          <p:nvPr/>
        </p:nvSpPr>
        <p:spPr>
          <a:xfrm>
            <a:off x="4627591" y="1780656"/>
            <a:ext cx="1371600" cy="50292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3F59BB3-3044-75A6-025E-EFC8BCD79827}"/>
              </a:ext>
            </a:extLst>
          </p:cNvPr>
          <p:cNvSpPr/>
          <p:nvPr/>
        </p:nvSpPr>
        <p:spPr>
          <a:xfrm>
            <a:off x="4672551" y="4654969"/>
            <a:ext cx="1280160" cy="624689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Big Data/Distributed Environment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9CB7436B-1CEF-BC80-CA03-F4D97D88DF97}"/>
              </a:ext>
            </a:extLst>
          </p:cNvPr>
          <p:cNvSpPr/>
          <p:nvPr/>
        </p:nvSpPr>
        <p:spPr>
          <a:xfrm>
            <a:off x="4672551" y="3272590"/>
            <a:ext cx="1280160" cy="624689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NOSQL Environment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1B3F474-55D9-8404-584B-BB23325CC5AC}"/>
              </a:ext>
            </a:extLst>
          </p:cNvPr>
          <p:cNvSpPr/>
          <p:nvPr/>
        </p:nvSpPr>
        <p:spPr>
          <a:xfrm>
            <a:off x="4662330" y="1890211"/>
            <a:ext cx="1280160" cy="624689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Warehousing</a:t>
            </a:r>
          </a:p>
          <a:p>
            <a:pPr algn="ctr"/>
            <a:r>
              <a:rPr lang="en-US" sz="1100" dirty="0"/>
              <a:t>Environment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5BA062B-D19A-D275-38CF-C1223B8A5D91}"/>
              </a:ext>
            </a:extLst>
          </p:cNvPr>
          <p:cNvSpPr/>
          <p:nvPr/>
        </p:nvSpPr>
        <p:spPr>
          <a:xfrm>
            <a:off x="10605679" y="4395320"/>
            <a:ext cx="1280160" cy="365760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Orchestration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F6DEFB4-8769-5669-30B0-4CAC3630C0B3}"/>
              </a:ext>
            </a:extLst>
          </p:cNvPr>
          <p:cNvSpPr/>
          <p:nvPr/>
        </p:nvSpPr>
        <p:spPr>
          <a:xfrm>
            <a:off x="10605679" y="3159624"/>
            <a:ext cx="1280160" cy="365760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DS/ML Platforms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7F3EA58-8069-A053-02CB-A75B26787D40}"/>
              </a:ext>
            </a:extLst>
          </p:cNvPr>
          <p:cNvSpPr/>
          <p:nvPr/>
        </p:nvSpPr>
        <p:spPr>
          <a:xfrm>
            <a:off x="10605679" y="3777472"/>
            <a:ext cx="128016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Version Control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30600B7-3370-BF40-DD00-52381D367306}"/>
              </a:ext>
            </a:extLst>
          </p:cNvPr>
          <p:cNvSpPr/>
          <p:nvPr/>
        </p:nvSpPr>
        <p:spPr>
          <a:xfrm>
            <a:off x="10605679" y="1923928"/>
            <a:ext cx="128016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Model Monitoring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1550FBA-7E76-60CC-58E8-1E2739A5BAD8}"/>
              </a:ext>
            </a:extLst>
          </p:cNvPr>
          <p:cNvSpPr/>
          <p:nvPr/>
        </p:nvSpPr>
        <p:spPr>
          <a:xfrm>
            <a:off x="10605679" y="6248862"/>
            <a:ext cx="1280160" cy="365760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Could Platforms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E982BEE-5158-D2C5-BB86-1EFCBD917285}"/>
              </a:ext>
            </a:extLst>
          </p:cNvPr>
          <p:cNvSpPr/>
          <p:nvPr/>
        </p:nvSpPr>
        <p:spPr>
          <a:xfrm>
            <a:off x="4672551" y="6037348"/>
            <a:ext cx="1280160" cy="624689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Cloud </a:t>
            </a:r>
          </a:p>
          <a:p>
            <a:pPr algn="ctr"/>
            <a:r>
              <a:rPr lang="en-US" sz="1100" dirty="0"/>
              <a:t>Environme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AE5698A-0AD9-7D65-B47A-58995ADB5ADC}"/>
              </a:ext>
            </a:extLst>
          </p:cNvPr>
          <p:cNvSpPr/>
          <p:nvPr/>
        </p:nvSpPr>
        <p:spPr>
          <a:xfrm>
            <a:off x="10605679" y="2541776"/>
            <a:ext cx="128016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Interface</a:t>
            </a:r>
          </a:p>
        </p:txBody>
      </p:sp>
    </p:spTree>
    <p:extLst>
      <p:ext uri="{BB962C8B-B14F-4D97-AF65-F5344CB8AC3E}">
        <p14:creationId xmlns:p14="http://schemas.microsoft.com/office/powerpoint/2010/main" val="3575844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62C7537-78B0-DCDB-5DF2-253369649C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1741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62C7537-78B0-DCDB-5DF2-253369649C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14" name="Google Shape;1514;p2"/>
          <p:cNvSpPr txBox="1">
            <a:spLocks noGrp="1"/>
          </p:cNvSpPr>
          <p:nvPr>
            <p:ph type="title"/>
          </p:nvPr>
        </p:nvSpPr>
        <p:spPr>
          <a:xfrm>
            <a:off x="53181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</a:pPr>
            <a:r>
              <a:rPr lang="en-US" dirty="0"/>
              <a:t>Technologies Infomineo can be handling  </a:t>
            </a:r>
            <a:endParaRPr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1374991-D052-AA77-61DA-0A4AD70BA7C7}"/>
              </a:ext>
            </a:extLst>
          </p:cNvPr>
          <p:cNvSpPr/>
          <p:nvPr/>
        </p:nvSpPr>
        <p:spPr>
          <a:xfrm>
            <a:off x="9463489" y="103388"/>
            <a:ext cx="2852331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Web design/ </a:t>
            </a:r>
            <a:endParaRPr lang="en-US" dirty="0"/>
          </a:p>
          <a:p>
            <a:pPr algn="ctr"/>
            <a:r>
              <a:rPr lang="en-US" dirty="0" err="1"/>
              <a:t>Webscrapping</a:t>
            </a:r>
            <a:r>
              <a:rPr lang="en-US" dirty="0"/>
              <a:t> ?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7E43D8C0-892F-A58D-B3D4-2346E54DBC71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9264297" y="282863"/>
            <a:ext cx="337109" cy="335611"/>
          </a:xfrm>
          <a:prstGeom prst="rect">
            <a:avLst/>
          </a:prstGeom>
        </p:spPr>
      </p:pic>
      <p:sp>
        <p:nvSpPr>
          <p:cNvPr id="1532" name="Freeform: Shape 1531">
            <a:extLst>
              <a:ext uri="{FF2B5EF4-FFF2-40B4-BE49-F238E27FC236}">
                <a16:creationId xmlns:a16="http://schemas.microsoft.com/office/drawing/2014/main" id="{64680945-0B55-DDC0-61D5-1BA275AF6A1C}"/>
              </a:ext>
            </a:extLst>
          </p:cNvPr>
          <p:cNvSpPr/>
          <p:nvPr/>
        </p:nvSpPr>
        <p:spPr>
          <a:xfrm>
            <a:off x="4997541" y="4128836"/>
            <a:ext cx="2006175" cy="1933435"/>
          </a:xfrm>
          <a:custGeom>
            <a:avLst/>
            <a:gdLst>
              <a:gd name="connsiteX0" fmla="*/ 2006054 w 2006175"/>
              <a:gd name="connsiteY0" fmla="*/ 1298911 h 1933435"/>
              <a:gd name="connsiteX1" fmla="*/ 1940187 w 2006175"/>
              <a:gd name="connsiteY1" fmla="*/ 1035623 h 1933435"/>
              <a:gd name="connsiteX2" fmla="*/ 1929757 w 2006175"/>
              <a:gd name="connsiteY2" fmla="*/ 1015924 h 1933435"/>
              <a:gd name="connsiteX3" fmla="*/ 1930001 w 2006175"/>
              <a:gd name="connsiteY3" fmla="*/ 1015375 h 1933435"/>
              <a:gd name="connsiteX4" fmla="*/ 1917072 w 2006175"/>
              <a:gd name="connsiteY4" fmla="*/ 1000311 h 1933435"/>
              <a:gd name="connsiteX5" fmla="*/ 1913778 w 2006175"/>
              <a:gd name="connsiteY5" fmla="*/ 996347 h 1933435"/>
              <a:gd name="connsiteX6" fmla="*/ 1902678 w 2006175"/>
              <a:gd name="connsiteY6" fmla="*/ 982380 h 1933435"/>
              <a:gd name="connsiteX7" fmla="*/ 1901459 w 2006175"/>
              <a:gd name="connsiteY7" fmla="*/ 980794 h 1933435"/>
              <a:gd name="connsiteX8" fmla="*/ 1889932 w 2006175"/>
              <a:gd name="connsiteY8" fmla="*/ 965120 h 1933435"/>
              <a:gd name="connsiteX9" fmla="*/ 1887065 w 2006175"/>
              <a:gd name="connsiteY9" fmla="*/ 961034 h 1933435"/>
              <a:gd name="connsiteX10" fmla="*/ 1877734 w 2006175"/>
              <a:gd name="connsiteY10" fmla="*/ 947312 h 1933435"/>
              <a:gd name="connsiteX11" fmla="*/ 1875965 w 2006175"/>
              <a:gd name="connsiteY11" fmla="*/ 944628 h 1933435"/>
              <a:gd name="connsiteX12" fmla="*/ 1865841 w 2006175"/>
              <a:gd name="connsiteY12" fmla="*/ 928466 h 1933435"/>
              <a:gd name="connsiteX13" fmla="*/ 1863463 w 2006175"/>
              <a:gd name="connsiteY13" fmla="*/ 924441 h 1933435"/>
              <a:gd name="connsiteX14" fmla="*/ 1855534 w 2006175"/>
              <a:gd name="connsiteY14" fmla="*/ 910657 h 1933435"/>
              <a:gd name="connsiteX15" fmla="*/ 1853583 w 2006175"/>
              <a:gd name="connsiteY15" fmla="*/ 907242 h 1933435"/>
              <a:gd name="connsiteX16" fmla="*/ 1844800 w 2006175"/>
              <a:gd name="connsiteY16" fmla="*/ 890531 h 1933435"/>
              <a:gd name="connsiteX17" fmla="*/ 1842910 w 2006175"/>
              <a:gd name="connsiteY17" fmla="*/ 886689 h 1933435"/>
              <a:gd name="connsiteX18" fmla="*/ 1836140 w 2006175"/>
              <a:gd name="connsiteY18" fmla="*/ 872601 h 1933435"/>
              <a:gd name="connsiteX19" fmla="*/ 1834249 w 2006175"/>
              <a:gd name="connsiteY19" fmla="*/ 868575 h 1933435"/>
              <a:gd name="connsiteX20" fmla="*/ 1826748 w 2006175"/>
              <a:gd name="connsiteY20" fmla="*/ 851438 h 1933435"/>
              <a:gd name="connsiteX21" fmla="*/ 1825345 w 2006175"/>
              <a:gd name="connsiteY21" fmla="*/ 848022 h 1933435"/>
              <a:gd name="connsiteX22" fmla="*/ 1819551 w 2006175"/>
              <a:gd name="connsiteY22" fmla="*/ 833324 h 1933435"/>
              <a:gd name="connsiteX23" fmla="*/ 1817904 w 2006175"/>
              <a:gd name="connsiteY23" fmla="*/ 828933 h 1933435"/>
              <a:gd name="connsiteX24" fmla="*/ 1811684 w 2006175"/>
              <a:gd name="connsiteY24" fmla="*/ 811368 h 1933435"/>
              <a:gd name="connsiteX25" fmla="*/ 1810830 w 2006175"/>
              <a:gd name="connsiteY25" fmla="*/ 808746 h 1933435"/>
              <a:gd name="connsiteX26" fmla="*/ 1805951 w 2006175"/>
              <a:gd name="connsiteY26" fmla="*/ 793193 h 1933435"/>
              <a:gd name="connsiteX27" fmla="*/ 1804609 w 2006175"/>
              <a:gd name="connsiteY27" fmla="*/ 788558 h 1933435"/>
              <a:gd name="connsiteX28" fmla="*/ 1799730 w 2006175"/>
              <a:gd name="connsiteY28" fmla="*/ 770628 h 1933435"/>
              <a:gd name="connsiteX29" fmla="*/ 1799364 w 2006175"/>
              <a:gd name="connsiteY29" fmla="*/ 769225 h 1933435"/>
              <a:gd name="connsiteX30" fmla="*/ 1795399 w 2006175"/>
              <a:gd name="connsiteY30" fmla="*/ 752331 h 1933435"/>
              <a:gd name="connsiteX31" fmla="*/ 1794363 w 2006175"/>
              <a:gd name="connsiteY31" fmla="*/ 747574 h 1933435"/>
              <a:gd name="connsiteX32" fmla="*/ 1790886 w 2006175"/>
              <a:gd name="connsiteY32" fmla="*/ 729948 h 1933435"/>
              <a:gd name="connsiteX33" fmla="*/ 1790765 w 2006175"/>
              <a:gd name="connsiteY33" fmla="*/ 729217 h 1933435"/>
              <a:gd name="connsiteX34" fmla="*/ 1789301 w 2006175"/>
              <a:gd name="connsiteY34" fmla="*/ 720312 h 1933435"/>
              <a:gd name="connsiteX35" fmla="*/ 1787837 w 2006175"/>
              <a:gd name="connsiteY35" fmla="*/ 710859 h 1933435"/>
              <a:gd name="connsiteX36" fmla="*/ 1787166 w 2006175"/>
              <a:gd name="connsiteY36" fmla="*/ 706041 h 1933435"/>
              <a:gd name="connsiteX37" fmla="*/ 1785153 w 2006175"/>
              <a:gd name="connsiteY37" fmla="*/ 689696 h 1933435"/>
              <a:gd name="connsiteX38" fmla="*/ 1784910 w 2006175"/>
              <a:gd name="connsiteY38" fmla="*/ 687317 h 1933435"/>
              <a:gd name="connsiteX39" fmla="*/ 1783263 w 2006175"/>
              <a:gd name="connsiteY39" fmla="*/ 668960 h 1933435"/>
              <a:gd name="connsiteX40" fmla="*/ 1782958 w 2006175"/>
              <a:gd name="connsiteY40" fmla="*/ 664264 h 1933435"/>
              <a:gd name="connsiteX41" fmla="*/ 1782104 w 2006175"/>
              <a:gd name="connsiteY41" fmla="*/ 648590 h 1933435"/>
              <a:gd name="connsiteX42" fmla="*/ 1781982 w 2006175"/>
              <a:gd name="connsiteY42" fmla="*/ 645235 h 1933435"/>
              <a:gd name="connsiteX43" fmla="*/ 1781616 w 2006175"/>
              <a:gd name="connsiteY43" fmla="*/ 626878 h 1933435"/>
              <a:gd name="connsiteX44" fmla="*/ 1781616 w 2006175"/>
              <a:gd name="connsiteY44" fmla="*/ 622425 h 1933435"/>
              <a:gd name="connsiteX45" fmla="*/ 1781860 w 2006175"/>
              <a:gd name="connsiteY45" fmla="*/ 607056 h 1933435"/>
              <a:gd name="connsiteX46" fmla="*/ 1781982 w 2006175"/>
              <a:gd name="connsiteY46" fmla="*/ 603031 h 1933435"/>
              <a:gd name="connsiteX47" fmla="*/ 1782958 w 2006175"/>
              <a:gd name="connsiteY47" fmla="*/ 584674 h 1933435"/>
              <a:gd name="connsiteX48" fmla="*/ 1783263 w 2006175"/>
              <a:gd name="connsiteY48" fmla="*/ 580709 h 1933435"/>
              <a:gd name="connsiteX49" fmla="*/ 1784605 w 2006175"/>
              <a:gd name="connsiteY49" fmla="*/ 565401 h 1933435"/>
              <a:gd name="connsiteX50" fmla="*/ 1785032 w 2006175"/>
              <a:gd name="connsiteY50" fmla="*/ 561010 h 1933435"/>
              <a:gd name="connsiteX51" fmla="*/ 1787288 w 2006175"/>
              <a:gd name="connsiteY51" fmla="*/ 542714 h 1933435"/>
              <a:gd name="connsiteX52" fmla="*/ 1787776 w 2006175"/>
              <a:gd name="connsiteY52" fmla="*/ 539359 h 1933435"/>
              <a:gd name="connsiteX53" fmla="*/ 1790215 w 2006175"/>
              <a:gd name="connsiteY53" fmla="*/ 523868 h 1933435"/>
              <a:gd name="connsiteX54" fmla="*/ 1791008 w 2006175"/>
              <a:gd name="connsiteY54" fmla="*/ 519233 h 1933435"/>
              <a:gd name="connsiteX55" fmla="*/ 1794546 w 2006175"/>
              <a:gd name="connsiteY55" fmla="*/ 501058 h 1933435"/>
              <a:gd name="connsiteX56" fmla="*/ 1795094 w 2006175"/>
              <a:gd name="connsiteY56" fmla="*/ 498741 h 1933435"/>
              <a:gd name="connsiteX57" fmla="*/ 1798815 w 2006175"/>
              <a:gd name="connsiteY57" fmla="*/ 482640 h 1933435"/>
              <a:gd name="connsiteX58" fmla="*/ 1799974 w 2006175"/>
              <a:gd name="connsiteY58" fmla="*/ 477944 h 1933435"/>
              <a:gd name="connsiteX59" fmla="*/ 1804792 w 2006175"/>
              <a:gd name="connsiteY59" fmla="*/ 459891 h 1933435"/>
              <a:gd name="connsiteX60" fmla="*/ 1805036 w 2006175"/>
              <a:gd name="connsiteY60" fmla="*/ 459159 h 1933435"/>
              <a:gd name="connsiteX61" fmla="*/ 1810281 w 2006175"/>
              <a:gd name="connsiteY61" fmla="*/ 441960 h 1933435"/>
              <a:gd name="connsiteX62" fmla="*/ 1811805 w 2006175"/>
              <a:gd name="connsiteY62" fmla="*/ 437264 h 1933435"/>
              <a:gd name="connsiteX63" fmla="*/ 1817477 w 2006175"/>
              <a:gd name="connsiteY63" fmla="*/ 420736 h 1933435"/>
              <a:gd name="connsiteX64" fmla="*/ 1817965 w 2006175"/>
              <a:gd name="connsiteY64" fmla="*/ 419456 h 1933435"/>
              <a:gd name="connsiteX65" fmla="*/ 1824674 w 2006175"/>
              <a:gd name="connsiteY65" fmla="*/ 401952 h 1933435"/>
              <a:gd name="connsiteX66" fmla="*/ 1826504 w 2006175"/>
              <a:gd name="connsiteY66" fmla="*/ 397439 h 1933435"/>
              <a:gd name="connsiteX67" fmla="*/ 1832907 w 2006175"/>
              <a:gd name="connsiteY67" fmla="*/ 382375 h 1933435"/>
              <a:gd name="connsiteX68" fmla="*/ 1833761 w 2006175"/>
              <a:gd name="connsiteY68" fmla="*/ 380423 h 1933435"/>
              <a:gd name="connsiteX69" fmla="*/ 1834005 w 2006175"/>
              <a:gd name="connsiteY69" fmla="*/ 379935 h 1933435"/>
              <a:gd name="connsiteX70" fmla="*/ 1844312 w 2006175"/>
              <a:gd name="connsiteY70" fmla="*/ 358162 h 1933435"/>
              <a:gd name="connsiteX71" fmla="*/ 1845776 w 2006175"/>
              <a:gd name="connsiteY71" fmla="*/ 355174 h 1933435"/>
              <a:gd name="connsiteX72" fmla="*/ 1856754 w 2006175"/>
              <a:gd name="connsiteY72" fmla="*/ 334377 h 1933435"/>
              <a:gd name="connsiteX73" fmla="*/ 1858644 w 2006175"/>
              <a:gd name="connsiteY73" fmla="*/ 330961 h 1933435"/>
              <a:gd name="connsiteX74" fmla="*/ 1870537 w 2006175"/>
              <a:gd name="connsiteY74" fmla="*/ 310774 h 1933435"/>
              <a:gd name="connsiteX75" fmla="*/ 1872611 w 2006175"/>
              <a:gd name="connsiteY75" fmla="*/ 307481 h 1933435"/>
              <a:gd name="connsiteX76" fmla="*/ 1885602 w 2006175"/>
              <a:gd name="connsiteY76" fmla="*/ 287476 h 1933435"/>
              <a:gd name="connsiteX77" fmla="*/ 1887431 w 2006175"/>
              <a:gd name="connsiteY77" fmla="*/ 284793 h 1933435"/>
              <a:gd name="connsiteX78" fmla="*/ 1901886 w 2006175"/>
              <a:gd name="connsiteY78" fmla="*/ 264606 h 1933435"/>
              <a:gd name="connsiteX79" fmla="*/ 1902861 w 2006175"/>
              <a:gd name="connsiteY79" fmla="*/ 263325 h 1933435"/>
              <a:gd name="connsiteX80" fmla="*/ 1918535 w 2006175"/>
              <a:gd name="connsiteY80" fmla="*/ 243443 h 1933435"/>
              <a:gd name="connsiteX81" fmla="*/ 1919450 w 2006175"/>
              <a:gd name="connsiteY81" fmla="*/ 242284 h 1933435"/>
              <a:gd name="connsiteX82" fmla="*/ 1935978 w 2006175"/>
              <a:gd name="connsiteY82" fmla="*/ 223194 h 1933435"/>
              <a:gd name="connsiteX83" fmla="*/ 1938113 w 2006175"/>
              <a:gd name="connsiteY83" fmla="*/ 220755 h 1933435"/>
              <a:gd name="connsiteX84" fmla="*/ 1951957 w 2006175"/>
              <a:gd name="connsiteY84" fmla="*/ 206057 h 1933435"/>
              <a:gd name="connsiteX85" fmla="*/ 1950798 w 2006175"/>
              <a:gd name="connsiteY85" fmla="*/ 207154 h 1933435"/>
              <a:gd name="connsiteX86" fmla="*/ 1942199 w 2006175"/>
              <a:gd name="connsiteY86" fmla="*/ 207459 h 1933435"/>
              <a:gd name="connsiteX87" fmla="*/ 594352 w 2006175"/>
              <a:gd name="connsiteY87" fmla="*/ 207459 h 1933435"/>
              <a:gd name="connsiteX88" fmla="*/ 594352 w 2006175"/>
              <a:gd name="connsiteY88" fmla="*/ 98 h 1933435"/>
              <a:gd name="connsiteX89" fmla="*/ 219272 w 2006175"/>
              <a:gd name="connsiteY89" fmla="*/ 98 h 1933435"/>
              <a:gd name="connsiteX90" fmla="*/ 33440 w 2006175"/>
              <a:gd name="connsiteY90" fmla="*/ 82433 h 1933435"/>
              <a:gd name="connsiteX91" fmla="*/ 32281 w 2006175"/>
              <a:gd name="connsiteY91" fmla="*/ 84262 h 1933435"/>
              <a:gd name="connsiteX92" fmla="*/ 5751 w 2006175"/>
              <a:gd name="connsiteY92" fmla="*/ 280646 h 1933435"/>
              <a:gd name="connsiteX93" fmla="*/ 5751 w 2006175"/>
              <a:gd name="connsiteY93" fmla="*/ 1927337 h 1933435"/>
              <a:gd name="connsiteX94" fmla="*/ 5629 w 2006175"/>
              <a:gd name="connsiteY94" fmla="*/ 1933436 h 1933435"/>
              <a:gd name="connsiteX95" fmla="*/ 1387142 w 2006175"/>
              <a:gd name="connsiteY95" fmla="*/ 1933436 h 1933435"/>
              <a:gd name="connsiteX96" fmla="*/ 2006176 w 2006175"/>
              <a:gd name="connsiteY96" fmla="*/ 1314402 h 1933435"/>
              <a:gd name="connsiteX97" fmla="*/ 2005932 w 2006175"/>
              <a:gd name="connsiteY97" fmla="*/ 1299155 h 1933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</a:cxnLst>
            <a:rect l="l" t="t" r="r" b="b"/>
            <a:pathLst>
              <a:path w="2006175" h="1933435">
                <a:moveTo>
                  <a:pt x="2006054" y="1298911"/>
                </a:moveTo>
                <a:cubicBezTo>
                  <a:pt x="2003736" y="1204378"/>
                  <a:pt x="1980317" y="1115091"/>
                  <a:pt x="1940187" y="1035623"/>
                </a:cubicBezTo>
                <a:cubicBezTo>
                  <a:pt x="1936832" y="1028975"/>
                  <a:pt x="1933355" y="1022389"/>
                  <a:pt x="1929757" y="1015924"/>
                </a:cubicBezTo>
                <a:lnTo>
                  <a:pt x="1930001" y="1015375"/>
                </a:lnTo>
                <a:cubicBezTo>
                  <a:pt x="1925549" y="1010435"/>
                  <a:pt x="1921280" y="1005373"/>
                  <a:pt x="1917072" y="1000311"/>
                </a:cubicBezTo>
                <a:cubicBezTo>
                  <a:pt x="1915974" y="998969"/>
                  <a:pt x="1914876" y="997688"/>
                  <a:pt x="1913778" y="996347"/>
                </a:cubicBezTo>
                <a:cubicBezTo>
                  <a:pt x="1909997" y="991711"/>
                  <a:pt x="1906277" y="987076"/>
                  <a:pt x="1902678" y="982380"/>
                </a:cubicBezTo>
                <a:cubicBezTo>
                  <a:pt x="1902251" y="981831"/>
                  <a:pt x="1901824" y="981343"/>
                  <a:pt x="1901459" y="980794"/>
                </a:cubicBezTo>
                <a:cubicBezTo>
                  <a:pt x="1897495" y="975610"/>
                  <a:pt x="1893713" y="970426"/>
                  <a:pt x="1889932" y="965120"/>
                </a:cubicBezTo>
                <a:cubicBezTo>
                  <a:pt x="1888956" y="963778"/>
                  <a:pt x="1888041" y="962437"/>
                  <a:pt x="1887065" y="961034"/>
                </a:cubicBezTo>
                <a:cubicBezTo>
                  <a:pt x="1883894" y="956521"/>
                  <a:pt x="1880783" y="951947"/>
                  <a:pt x="1877734" y="947312"/>
                </a:cubicBezTo>
                <a:cubicBezTo>
                  <a:pt x="1877124" y="946397"/>
                  <a:pt x="1876514" y="945543"/>
                  <a:pt x="1875965" y="944628"/>
                </a:cubicBezTo>
                <a:cubicBezTo>
                  <a:pt x="1872489" y="939261"/>
                  <a:pt x="1869135" y="933894"/>
                  <a:pt x="1865841" y="928466"/>
                </a:cubicBezTo>
                <a:cubicBezTo>
                  <a:pt x="1865049" y="927124"/>
                  <a:pt x="1864256" y="925783"/>
                  <a:pt x="1863463" y="924441"/>
                </a:cubicBezTo>
                <a:cubicBezTo>
                  <a:pt x="1860718" y="919867"/>
                  <a:pt x="1858096" y="915293"/>
                  <a:pt x="1855534" y="910657"/>
                </a:cubicBezTo>
                <a:cubicBezTo>
                  <a:pt x="1854924" y="909499"/>
                  <a:pt x="1854253" y="908401"/>
                  <a:pt x="1853583" y="907242"/>
                </a:cubicBezTo>
                <a:cubicBezTo>
                  <a:pt x="1850533" y="901692"/>
                  <a:pt x="1847606" y="896142"/>
                  <a:pt x="1844800" y="890531"/>
                </a:cubicBezTo>
                <a:cubicBezTo>
                  <a:pt x="1844130" y="889250"/>
                  <a:pt x="1843519" y="887970"/>
                  <a:pt x="1842910" y="886689"/>
                </a:cubicBezTo>
                <a:cubicBezTo>
                  <a:pt x="1840592" y="881993"/>
                  <a:pt x="1838336" y="877297"/>
                  <a:pt x="1836140" y="872601"/>
                </a:cubicBezTo>
                <a:cubicBezTo>
                  <a:pt x="1835530" y="871259"/>
                  <a:pt x="1834859" y="869917"/>
                  <a:pt x="1834249" y="868575"/>
                </a:cubicBezTo>
                <a:cubicBezTo>
                  <a:pt x="1831688" y="862904"/>
                  <a:pt x="1829187" y="857171"/>
                  <a:pt x="1826748" y="851438"/>
                </a:cubicBezTo>
                <a:cubicBezTo>
                  <a:pt x="1826260" y="850279"/>
                  <a:pt x="1825833" y="849181"/>
                  <a:pt x="1825345" y="848022"/>
                </a:cubicBezTo>
                <a:cubicBezTo>
                  <a:pt x="1823332" y="843143"/>
                  <a:pt x="1821442" y="838264"/>
                  <a:pt x="1819551" y="833324"/>
                </a:cubicBezTo>
                <a:cubicBezTo>
                  <a:pt x="1819002" y="831860"/>
                  <a:pt x="1818453" y="830397"/>
                  <a:pt x="1817904" y="828933"/>
                </a:cubicBezTo>
                <a:cubicBezTo>
                  <a:pt x="1815770" y="823078"/>
                  <a:pt x="1813696" y="817223"/>
                  <a:pt x="1811684" y="811368"/>
                </a:cubicBezTo>
                <a:cubicBezTo>
                  <a:pt x="1811378" y="810514"/>
                  <a:pt x="1811135" y="809599"/>
                  <a:pt x="1810830" y="808746"/>
                </a:cubicBezTo>
                <a:cubicBezTo>
                  <a:pt x="1809122" y="803562"/>
                  <a:pt x="1807536" y="798378"/>
                  <a:pt x="1805951" y="793193"/>
                </a:cubicBezTo>
                <a:cubicBezTo>
                  <a:pt x="1805463" y="791669"/>
                  <a:pt x="1805036" y="790083"/>
                  <a:pt x="1804609" y="788558"/>
                </a:cubicBezTo>
                <a:cubicBezTo>
                  <a:pt x="1802901" y="782581"/>
                  <a:pt x="1801254" y="776605"/>
                  <a:pt x="1799730" y="770628"/>
                </a:cubicBezTo>
                <a:cubicBezTo>
                  <a:pt x="1799608" y="770140"/>
                  <a:pt x="1799486" y="769652"/>
                  <a:pt x="1799364" y="769225"/>
                </a:cubicBezTo>
                <a:cubicBezTo>
                  <a:pt x="1797961" y="763614"/>
                  <a:pt x="1796619" y="758003"/>
                  <a:pt x="1795399" y="752331"/>
                </a:cubicBezTo>
                <a:cubicBezTo>
                  <a:pt x="1795033" y="750745"/>
                  <a:pt x="1794729" y="749160"/>
                  <a:pt x="1794363" y="747574"/>
                </a:cubicBezTo>
                <a:cubicBezTo>
                  <a:pt x="1793143" y="741719"/>
                  <a:pt x="1791923" y="735864"/>
                  <a:pt x="1790886" y="729948"/>
                </a:cubicBezTo>
                <a:cubicBezTo>
                  <a:pt x="1790886" y="729705"/>
                  <a:pt x="1790765" y="729461"/>
                  <a:pt x="1790765" y="729217"/>
                </a:cubicBezTo>
                <a:cubicBezTo>
                  <a:pt x="1790215" y="726228"/>
                  <a:pt x="1789789" y="723301"/>
                  <a:pt x="1789301" y="720312"/>
                </a:cubicBezTo>
                <a:cubicBezTo>
                  <a:pt x="1788813" y="717141"/>
                  <a:pt x="1788325" y="714030"/>
                  <a:pt x="1787837" y="710859"/>
                </a:cubicBezTo>
                <a:cubicBezTo>
                  <a:pt x="1787593" y="709273"/>
                  <a:pt x="1787349" y="707626"/>
                  <a:pt x="1787166" y="706041"/>
                </a:cubicBezTo>
                <a:cubicBezTo>
                  <a:pt x="1786434" y="700613"/>
                  <a:pt x="1785702" y="695185"/>
                  <a:pt x="1785153" y="689696"/>
                </a:cubicBezTo>
                <a:cubicBezTo>
                  <a:pt x="1785092" y="688903"/>
                  <a:pt x="1784971" y="688110"/>
                  <a:pt x="1784910" y="687317"/>
                </a:cubicBezTo>
                <a:cubicBezTo>
                  <a:pt x="1784239" y="681219"/>
                  <a:pt x="1783751" y="675059"/>
                  <a:pt x="1783263" y="668960"/>
                </a:cubicBezTo>
                <a:cubicBezTo>
                  <a:pt x="1783141" y="667374"/>
                  <a:pt x="1783019" y="665849"/>
                  <a:pt x="1782958" y="664264"/>
                </a:cubicBezTo>
                <a:cubicBezTo>
                  <a:pt x="1782592" y="659080"/>
                  <a:pt x="1782348" y="653835"/>
                  <a:pt x="1782104" y="648590"/>
                </a:cubicBezTo>
                <a:cubicBezTo>
                  <a:pt x="1782104" y="647492"/>
                  <a:pt x="1781982" y="646333"/>
                  <a:pt x="1781982" y="645235"/>
                </a:cubicBezTo>
                <a:cubicBezTo>
                  <a:pt x="1781799" y="639136"/>
                  <a:pt x="1781677" y="632977"/>
                  <a:pt x="1781616" y="626878"/>
                </a:cubicBezTo>
                <a:cubicBezTo>
                  <a:pt x="1781616" y="625414"/>
                  <a:pt x="1781616" y="623950"/>
                  <a:pt x="1781616" y="622425"/>
                </a:cubicBezTo>
                <a:cubicBezTo>
                  <a:pt x="1781616" y="617302"/>
                  <a:pt x="1781738" y="612179"/>
                  <a:pt x="1781860" y="607056"/>
                </a:cubicBezTo>
                <a:cubicBezTo>
                  <a:pt x="1781860" y="605715"/>
                  <a:pt x="1781921" y="604373"/>
                  <a:pt x="1781982" y="603031"/>
                </a:cubicBezTo>
                <a:cubicBezTo>
                  <a:pt x="1782226" y="596932"/>
                  <a:pt x="1782531" y="590773"/>
                  <a:pt x="1782958" y="584674"/>
                </a:cubicBezTo>
                <a:cubicBezTo>
                  <a:pt x="1783019" y="583332"/>
                  <a:pt x="1783141" y="582051"/>
                  <a:pt x="1783263" y="580709"/>
                </a:cubicBezTo>
                <a:cubicBezTo>
                  <a:pt x="1783629" y="575586"/>
                  <a:pt x="1784056" y="570463"/>
                  <a:pt x="1784605" y="565401"/>
                </a:cubicBezTo>
                <a:cubicBezTo>
                  <a:pt x="1784726" y="563937"/>
                  <a:pt x="1784910" y="562474"/>
                  <a:pt x="1785032" y="561010"/>
                </a:cubicBezTo>
                <a:cubicBezTo>
                  <a:pt x="1785702" y="554911"/>
                  <a:pt x="1786434" y="548812"/>
                  <a:pt x="1787288" y="542714"/>
                </a:cubicBezTo>
                <a:cubicBezTo>
                  <a:pt x="1787471" y="541616"/>
                  <a:pt x="1787593" y="540518"/>
                  <a:pt x="1787776" y="539359"/>
                </a:cubicBezTo>
                <a:cubicBezTo>
                  <a:pt x="1788508" y="534175"/>
                  <a:pt x="1789362" y="528991"/>
                  <a:pt x="1790215" y="523868"/>
                </a:cubicBezTo>
                <a:cubicBezTo>
                  <a:pt x="1790459" y="522343"/>
                  <a:pt x="1790765" y="520758"/>
                  <a:pt x="1791008" y="519233"/>
                </a:cubicBezTo>
                <a:cubicBezTo>
                  <a:pt x="1792106" y="513195"/>
                  <a:pt x="1793265" y="507096"/>
                  <a:pt x="1794546" y="501058"/>
                </a:cubicBezTo>
                <a:cubicBezTo>
                  <a:pt x="1794729" y="500265"/>
                  <a:pt x="1794912" y="499473"/>
                  <a:pt x="1795094" y="498741"/>
                </a:cubicBezTo>
                <a:cubicBezTo>
                  <a:pt x="1796253" y="493374"/>
                  <a:pt x="1797473" y="488007"/>
                  <a:pt x="1798815" y="482640"/>
                </a:cubicBezTo>
                <a:cubicBezTo>
                  <a:pt x="1799181" y="481054"/>
                  <a:pt x="1799608" y="479468"/>
                  <a:pt x="1799974" y="477944"/>
                </a:cubicBezTo>
                <a:cubicBezTo>
                  <a:pt x="1801498" y="471906"/>
                  <a:pt x="1803084" y="465868"/>
                  <a:pt x="1804792" y="459891"/>
                </a:cubicBezTo>
                <a:cubicBezTo>
                  <a:pt x="1804853" y="459647"/>
                  <a:pt x="1804914" y="459403"/>
                  <a:pt x="1805036" y="459159"/>
                </a:cubicBezTo>
                <a:cubicBezTo>
                  <a:pt x="1806682" y="453365"/>
                  <a:pt x="1808451" y="447632"/>
                  <a:pt x="1810281" y="441960"/>
                </a:cubicBezTo>
                <a:cubicBezTo>
                  <a:pt x="1810769" y="440375"/>
                  <a:pt x="1811318" y="438850"/>
                  <a:pt x="1811805" y="437264"/>
                </a:cubicBezTo>
                <a:cubicBezTo>
                  <a:pt x="1813635" y="431714"/>
                  <a:pt x="1815526" y="426225"/>
                  <a:pt x="1817477" y="420736"/>
                </a:cubicBezTo>
                <a:cubicBezTo>
                  <a:pt x="1817660" y="420309"/>
                  <a:pt x="1817782" y="419882"/>
                  <a:pt x="1817965" y="419456"/>
                </a:cubicBezTo>
                <a:cubicBezTo>
                  <a:pt x="1820100" y="413601"/>
                  <a:pt x="1822357" y="407746"/>
                  <a:pt x="1824674" y="401952"/>
                </a:cubicBezTo>
                <a:cubicBezTo>
                  <a:pt x="1825284" y="400427"/>
                  <a:pt x="1825894" y="398963"/>
                  <a:pt x="1826504" y="397439"/>
                </a:cubicBezTo>
                <a:cubicBezTo>
                  <a:pt x="1828577" y="392377"/>
                  <a:pt x="1830712" y="387376"/>
                  <a:pt x="1832907" y="382375"/>
                </a:cubicBezTo>
                <a:cubicBezTo>
                  <a:pt x="1833212" y="381704"/>
                  <a:pt x="1833457" y="381033"/>
                  <a:pt x="1833761" y="380423"/>
                </a:cubicBezTo>
                <a:cubicBezTo>
                  <a:pt x="1833822" y="380240"/>
                  <a:pt x="1833944" y="380057"/>
                  <a:pt x="1834005" y="379935"/>
                </a:cubicBezTo>
                <a:cubicBezTo>
                  <a:pt x="1837298" y="372616"/>
                  <a:pt x="1840714" y="365359"/>
                  <a:pt x="1844312" y="358162"/>
                </a:cubicBezTo>
                <a:cubicBezTo>
                  <a:pt x="1844800" y="357186"/>
                  <a:pt x="1845288" y="356150"/>
                  <a:pt x="1845776" y="355174"/>
                </a:cubicBezTo>
                <a:cubicBezTo>
                  <a:pt x="1849313" y="348160"/>
                  <a:pt x="1852973" y="341268"/>
                  <a:pt x="1856754" y="334377"/>
                </a:cubicBezTo>
                <a:cubicBezTo>
                  <a:pt x="1857364" y="333218"/>
                  <a:pt x="1858035" y="332120"/>
                  <a:pt x="1858644" y="330961"/>
                </a:cubicBezTo>
                <a:cubicBezTo>
                  <a:pt x="1862487" y="324191"/>
                  <a:pt x="1866451" y="317422"/>
                  <a:pt x="1870537" y="310774"/>
                </a:cubicBezTo>
                <a:cubicBezTo>
                  <a:pt x="1871208" y="309676"/>
                  <a:pt x="1871879" y="308578"/>
                  <a:pt x="1872611" y="307481"/>
                </a:cubicBezTo>
                <a:cubicBezTo>
                  <a:pt x="1876819" y="300772"/>
                  <a:pt x="1881149" y="294063"/>
                  <a:pt x="1885602" y="287476"/>
                </a:cubicBezTo>
                <a:cubicBezTo>
                  <a:pt x="1886211" y="286562"/>
                  <a:pt x="1886822" y="285708"/>
                  <a:pt x="1887431" y="284793"/>
                </a:cubicBezTo>
                <a:cubicBezTo>
                  <a:pt x="1892127" y="277962"/>
                  <a:pt x="1896945" y="271253"/>
                  <a:pt x="1901886" y="264606"/>
                </a:cubicBezTo>
                <a:cubicBezTo>
                  <a:pt x="1902190" y="264179"/>
                  <a:pt x="1902556" y="263752"/>
                  <a:pt x="1902861" y="263325"/>
                </a:cubicBezTo>
                <a:cubicBezTo>
                  <a:pt x="1907923" y="256616"/>
                  <a:pt x="1913168" y="249968"/>
                  <a:pt x="1918535" y="243443"/>
                </a:cubicBezTo>
                <a:cubicBezTo>
                  <a:pt x="1918841" y="243077"/>
                  <a:pt x="1919145" y="242711"/>
                  <a:pt x="1919450" y="242284"/>
                </a:cubicBezTo>
                <a:cubicBezTo>
                  <a:pt x="1924817" y="235819"/>
                  <a:pt x="1930367" y="229476"/>
                  <a:pt x="1935978" y="223194"/>
                </a:cubicBezTo>
                <a:cubicBezTo>
                  <a:pt x="1936710" y="222401"/>
                  <a:pt x="1937442" y="221609"/>
                  <a:pt x="1938113" y="220755"/>
                </a:cubicBezTo>
                <a:cubicBezTo>
                  <a:pt x="1942626" y="215815"/>
                  <a:pt x="1947261" y="210875"/>
                  <a:pt x="1951957" y="206057"/>
                </a:cubicBezTo>
                <a:cubicBezTo>
                  <a:pt x="1951591" y="206422"/>
                  <a:pt x="1951225" y="206788"/>
                  <a:pt x="1950798" y="207154"/>
                </a:cubicBezTo>
                <a:lnTo>
                  <a:pt x="1942199" y="207459"/>
                </a:lnTo>
                <a:lnTo>
                  <a:pt x="594352" y="207459"/>
                </a:lnTo>
                <a:lnTo>
                  <a:pt x="594352" y="98"/>
                </a:lnTo>
                <a:lnTo>
                  <a:pt x="219272" y="98"/>
                </a:lnTo>
                <a:cubicBezTo>
                  <a:pt x="119007" y="-2158"/>
                  <a:pt x="63507" y="34740"/>
                  <a:pt x="33440" y="82433"/>
                </a:cubicBezTo>
                <a:cubicBezTo>
                  <a:pt x="33074" y="83043"/>
                  <a:pt x="32708" y="83652"/>
                  <a:pt x="32281" y="84262"/>
                </a:cubicBezTo>
                <a:cubicBezTo>
                  <a:pt x="-18400" y="166902"/>
                  <a:pt x="5751" y="280646"/>
                  <a:pt x="5751" y="280646"/>
                </a:cubicBezTo>
                <a:lnTo>
                  <a:pt x="5751" y="1927337"/>
                </a:lnTo>
                <a:cubicBezTo>
                  <a:pt x="5751" y="1927337"/>
                  <a:pt x="5629" y="1933314"/>
                  <a:pt x="5629" y="1933436"/>
                </a:cubicBezTo>
                <a:lnTo>
                  <a:pt x="1387142" y="1933436"/>
                </a:lnTo>
                <a:cubicBezTo>
                  <a:pt x="1729044" y="1933436"/>
                  <a:pt x="2006176" y="1656304"/>
                  <a:pt x="2006176" y="1314402"/>
                </a:cubicBezTo>
                <a:cubicBezTo>
                  <a:pt x="2006176" y="1309279"/>
                  <a:pt x="2006054" y="1304217"/>
                  <a:pt x="2005932" y="1299155"/>
                </a:cubicBezTo>
                <a:close/>
              </a:path>
            </a:pathLst>
          </a:custGeom>
          <a:solidFill>
            <a:srgbClr val="2B45C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DBB53F-AD51-FB9E-E0D5-A07D2595A513}"/>
              </a:ext>
            </a:extLst>
          </p:cNvPr>
          <p:cNvSpPr/>
          <p:nvPr/>
        </p:nvSpPr>
        <p:spPr>
          <a:xfrm>
            <a:off x="5058425" y="4148188"/>
            <a:ext cx="1891792" cy="835788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5187A2C5-9D85-B790-AC0C-A7921802D6F8}"/>
              </a:ext>
            </a:extLst>
          </p:cNvPr>
          <p:cNvSpPr/>
          <p:nvPr/>
        </p:nvSpPr>
        <p:spPr>
          <a:xfrm>
            <a:off x="6831730" y="4997350"/>
            <a:ext cx="1890" cy="4025"/>
          </a:xfrm>
          <a:custGeom>
            <a:avLst/>
            <a:gdLst>
              <a:gd name="connsiteX0" fmla="*/ 0 w 1890"/>
              <a:gd name="connsiteY0" fmla="*/ 0 h 4025"/>
              <a:gd name="connsiteX1" fmla="*/ 1891 w 1890"/>
              <a:gd name="connsiteY1" fmla="*/ 4025 h 4025"/>
              <a:gd name="connsiteX2" fmla="*/ 0 w 1890"/>
              <a:gd name="connsiteY2" fmla="*/ 0 h 4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90" h="4025">
                <a:moveTo>
                  <a:pt x="0" y="0"/>
                </a:moveTo>
                <a:cubicBezTo>
                  <a:pt x="610" y="1342"/>
                  <a:pt x="1219" y="2684"/>
                  <a:pt x="1891" y="4025"/>
                </a:cubicBezTo>
                <a:cubicBezTo>
                  <a:pt x="1281" y="2684"/>
                  <a:pt x="610" y="1342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897F456A-58BA-2047-C654-7759B3DEAB57}"/>
              </a:ext>
            </a:extLst>
          </p:cNvPr>
          <p:cNvSpPr/>
          <p:nvPr/>
        </p:nvSpPr>
        <p:spPr>
          <a:xfrm>
            <a:off x="6808371" y="4937520"/>
            <a:ext cx="853" cy="2622"/>
          </a:xfrm>
          <a:custGeom>
            <a:avLst/>
            <a:gdLst>
              <a:gd name="connsiteX0" fmla="*/ 0 w 853"/>
              <a:gd name="connsiteY0" fmla="*/ 0 h 2622"/>
              <a:gd name="connsiteX1" fmla="*/ 854 w 853"/>
              <a:gd name="connsiteY1" fmla="*/ 2622 h 2622"/>
              <a:gd name="connsiteX2" fmla="*/ 0 w 853"/>
              <a:gd name="connsiteY2" fmla="*/ 0 h 2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3" h="2622">
                <a:moveTo>
                  <a:pt x="0" y="0"/>
                </a:moveTo>
                <a:cubicBezTo>
                  <a:pt x="305" y="854"/>
                  <a:pt x="549" y="1769"/>
                  <a:pt x="854" y="2622"/>
                </a:cubicBezTo>
                <a:cubicBezTo>
                  <a:pt x="549" y="1769"/>
                  <a:pt x="305" y="854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07331ECD-2630-5F8C-26A6-D86802247173}"/>
              </a:ext>
            </a:extLst>
          </p:cNvPr>
          <p:cNvSpPr/>
          <p:nvPr/>
        </p:nvSpPr>
        <p:spPr>
          <a:xfrm>
            <a:off x="6802150" y="4917272"/>
            <a:ext cx="1341" cy="4635"/>
          </a:xfrm>
          <a:custGeom>
            <a:avLst/>
            <a:gdLst>
              <a:gd name="connsiteX0" fmla="*/ 0 w 1341"/>
              <a:gd name="connsiteY0" fmla="*/ 0 h 4635"/>
              <a:gd name="connsiteX1" fmla="*/ 1342 w 1341"/>
              <a:gd name="connsiteY1" fmla="*/ 4635 h 4635"/>
              <a:gd name="connsiteX2" fmla="*/ 0 w 1341"/>
              <a:gd name="connsiteY2" fmla="*/ 0 h 4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41" h="4635">
                <a:moveTo>
                  <a:pt x="0" y="0"/>
                </a:moveTo>
                <a:cubicBezTo>
                  <a:pt x="427" y="1525"/>
                  <a:pt x="915" y="3110"/>
                  <a:pt x="1342" y="4635"/>
                </a:cubicBezTo>
                <a:cubicBezTo>
                  <a:pt x="854" y="3110"/>
                  <a:pt x="427" y="1525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5F340E0-080B-9F0E-378D-CB5C04EFE601}"/>
              </a:ext>
            </a:extLst>
          </p:cNvPr>
          <p:cNvSpPr/>
          <p:nvPr/>
        </p:nvSpPr>
        <p:spPr>
          <a:xfrm>
            <a:off x="6815446" y="4957707"/>
            <a:ext cx="1646" cy="4391"/>
          </a:xfrm>
          <a:custGeom>
            <a:avLst/>
            <a:gdLst>
              <a:gd name="connsiteX0" fmla="*/ 0 w 1646"/>
              <a:gd name="connsiteY0" fmla="*/ 0 h 4391"/>
              <a:gd name="connsiteX1" fmla="*/ 1647 w 1646"/>
              <a:gd name="connsiteY1" fmla="*/ 4391 h 4391"/>
              <a:gd name="connsiteX2" fmla="*/ 0 w 1646"/>
              <a:gd name="connsiteY2" fmla="*/ 0 h 4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46" h="4391">
                <a:moveTo>
                  <a:pt x="0" y="0"/>
                </a:moveTo>
                <a:cubicBezTo>
                  <a:pt x="549" y="1464"/>
                  <a:pt x="1098" y="2928"/>
                  <a:pt x="1647" y="4391"/>
                </a:cubicBezTo>
                <a:cubicBezTo>
                  <a:pt x="1098" y="2928"/>
                  <a:pt x="549" y="1464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24B1C814-75E8-851C-764E-9AEB2AAA1D62}"/>
              </a:ext>
            </a:extLst>
          </p:cNvPr>
          <p:cNvSpPr/>
          <p:nvPr/>
        </p:nvSpPr>
        <p:spPr>
          <a:xfrm>
            <a:off x="6822886" y="4976797"/>
            <a:ext cx="1402" cy="3415"/>
          </a:xfrm>
          <a:custGeom>
            <a:avLst/>
            <a:gdLst>
              <a:gd name="connsiteX0" fmla="*/ 0 w 1402"/>
              <a:gd name="connsiteY0" fmla="*/ 0 h 3415"/>
              <a:gd name="connsiteX1" fmla="*/ 1403 w 1402"/>
              <a:gd name="connsiteY1" fmla="*/ 3415 h 3415"/>
              <a:gd name="connsiteX2" fmla="*/ 0 w 1402"/>
              <a:gd name="connsiteY2" fmla="*/ 0 h 3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02" h="3415">
                <a:moveTo>
                  <a:pt x="0" y="0"/>
                </a:moveTo>
                <a:cubicBezTo>
                  <a:pt x="488" y="1159"/>
                  <a:pt x="915" y="2257"/>
                  <a:pt x="1403" y="3415"/>
                </a:cubicBezTo>
                <a:cubicBezTo>
                  <a:pt x="915" y="2257"/>
                  <a:pt x="488" y="1159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B2310D79-B00A-BF42-F363-A0BBF84A2FA7}"/>
              </a:ext>
            </a:extLst>
          </p:cNvPr>
          <p:cNvSpPr/>
          <p:nvPr/>
        </p:nvSpPr>
        <p:spPr>
          <a:xfrm rot="16214400">
            <a:off x="4800439" y="5216302"/>
            <a:ext cx="403256" cy="3049"/>
          </a:xfrm>
          <a:custGeom>
            <a:avLst/>
            <a:gdLst>
              <a:gd name="connsiteX0" fmla="*/ 0 w 403256"/>
              <a:gd name="connsiteY0" fmla="*/ 0 h 3049"/>
              <a:gd name="connsiteX1" fmla="*/ 403256 w 403256"/>
              <a:gd name="connsiteY1" fmla="*/ 0 h 3049"/>
              <a:gd name="connsiteX2" fmla="*/ 403256 w 403256"/>
              <a:gd name="connsiteY2" fmla="*/ 3049 h 3049"/>
              <a:gd name="connsiteX3" fmla="*/ 0 w 403256"/>
              <a:gd name="connsiteY3" fmla="*/ 3049 h 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256" h="3049">
                <a:moveTo>
                  <a:pt x="0" y="0"/>
                </a:moveTo>
                <a:lnTo>
                  <a:pt x="403256" y="0"/>
                </a:lnTo>
                <a:lnTo>
                  <a:pt x="403256" y="3049"/>
                </a:lnTo>
                <a:lnTo>
                  <a:pt x="0" y="3049"/>
                </a:ln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BB9A51C8-54F2-89D7-0686-8892CCEB7D82}"/>
              </a:ext>
            </a:extLst>
          </p:cNvPr>
          <p:cNvSpPr/>
          <p:nvPr/>
        </p:nvSpPr>
        <p:spPr>
          <a:xfrm>
            <a:off x="6791904" y="4876227"/>
            <a:ext cx="1036" cy="4757"/>
          </a:xfrm>
          <a:custGeom>
            <a:avLst/>
            <a:gdLst>
              <a:gd name="connsiteX0" fmla="*/ 0 w 1036"/>
              <a:gd name="connsiteY0" fmla="*/ 0 h 4757"/>
              <a:gd name="connsiteX1" fmla="*/ 1037 w 1036"/>
              <a:gd name="connsiteY1" fmla="*/ 4757 h 4757"/>
              <a:gd name="connsiteX2" fmla="*/ 0 w 1036"/>
              <a:gd name="connsiteY2" fmla="*/ 0 h 4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6" h="4757">
                <a:moveTo>
                  <a:pt x="0" y="0"/>
                </a:moveTo>
                <a:cubicBezTo>
                  <a:pt x="366" y="1586"/>
                  <a:pt x="671" y="3171"/>
                  <a:pt x="1037" y="4757"/>
                </a:cubicBezTo>
                <a:cubicBezTo>
                  <a:pt x="671" y="3171"/>
                  <a:pt x="366" y="1586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3F2F9FA9-9E1F-48C2-DDAA-27B4E548A381}"/>
              </a:ext>
            </a:extLst>
          </p:cNvPr>
          <p:cNvSpPr/>
          <p:nvPr/>
        </p:nvSpPr>
        <p:spPr>
          <a:xfrm>
            <a:off x="6796905" y="4897878"/>
            <a:ext cx="365" cy="1402"/>
          </a:xfrm>
          <a:custGeom>
            <a:avLst/>
            <a:gdLst>
              <a:gd name="connsiteX0" fmla="*/ 0 w 365"/>
              <a:gd name="connsiteY0" fmla="*/ 0 h 1402"/>
              <a:gd name="connsiteX1" fmla="*/ 366 w 365"/>
              <a:gd name="connsiteY1" fmla="*/ 1403 h 1402"/>
              <a:gd name="connsiteX2" fmla="*/ 0 w 365"/>
              <a:gd name="connsiteY2" fmla="*/ 0 h 1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5" h="1402">
                <a:moveTo>
                  <a:pt x="0" y="0"/>
                </a:moveTo>
                <a:cubicBezTo>
                  <a:pt x="122" y="488"/>
                  <a:pt x="244" y="976"/>
                  <a:pt x="366" y="1403"/>
                </a:cubicBezTo>
                <a:cubicBezTo>
                  <a:pt x="244" y="915"/>
                  <a:pt x="122" y="427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28BFF597-390D-8F81-7CD3-BEB03B26EC68}"/>
              </a:ext>
            </a:extLst>
          </p:cNvPr>
          <p:cNvSpPr/>
          <p:nvPr/>
        </p:nvSpPr>
        <p:spPr>
          <a:xfrm>
            <a:off x="6788306" y="4857869"/>
            <a:ext cx="121" cy="731"/>
          </a:xfrm>
          <a:custGeom>
            <a:avLst/>
            <a:gdLst>
              <a:gd name="connsiteX0" fmla="*/ 0 w 121"/>
              <a:gd name="connsiteY0" fmla="*/ 0 h 731"/>
              <a:gd name="connsiteX1" fmla="*/ 122 w 121"/>
              <a:gd name="connsiteY1" fmla="*/ 732 h 731"/>
              <a:gd name="connsiteX2" fmla="*/ 0 w 121"/>
              <a:gd name="connsiteY2" fmla="*/ 0 h 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" h="731">
                <a:moveTo>
                  <a:pt x="0" y="0"/>
                </a:moveTo>
                <a:cubicBezTo>
                  <a:pt x="0" y="0"/>
                  <a:pt x="122" y="488"/>
                  <a:pt x="122" y="732"/>
                </a:cubicBezTo>
                <a:cubicBezTo>
                  <a:pt x="122" y="488"/>
                  <a:pt x="0" y="244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D5BF717D-8CC7-148A-4FC9-E651406875A0}"/>
              </a:ext>
            </a:extLst>
          </p:cNvPr>
          <p:cNvSpPr/>
          <p:nvPr/>
        </p:nvSpPr>
        <p:spPr>
          <a:xfrm>
            <a:off x="5000365" y="5419330"/>
            <a:ext cx="3049" cy="642697"/>
          </a:xfrm>
          <a:custGeom>
            <a:avLst/>
            <a:gdLst>
              <a:gd name="connsiteX0" fmla="*/ 0 w 3049"/>
              <a:gd name="connsiteY0" fmla="*/ 642698 h 642697"/>
              <a:gd name="connsiteX1" fmla="*/ 2927 w 3049"/>
              <a:gd name="connsiteY1" fmla="*/ 642698 h 642697"/>
              <a:gd name="connsiteX2" fmla="*/ 3049 w 3049"/>
              <a:gd name="connsiteY2" fmla="*/ 636599 h 642697"/>
              <a:gd name="connsiteX3" fmla="*/ 3049 w 3049"/>
              <a:gd name="connsiteY3" fmla="*/ 0 h 642697"/>
              <a:gd name="connsiteX4" fmla="*/ 0 w 3049"/>
              <a:gd name="connsiteY4" fmla="*/ 0 h 642697"/>
              <a:gd name="connsiteX5" fmla="*/ 0 w 3049"/>
              <a:gd name="connsiteY5" fmla="*/ 642698 h 6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9" h="642697">
                <a:moveTo>
                  <a:pt x="0" y="642698"/>
                </a:moveTo>
                <a:lnTo>
                  <a:pt x="2927" y="642698"/>
                </a:lnTo>
                <a:cubicBezTo>
                  <a:pt x="2927" y="642698"/>
                  <a:pt x="3049" y="636599"/>
                  <a:pt x="3049" y="636599"/>
                </a:cubicBezTo>
                <a:lnTo>
                  <a:pt x="3049" y="0"/>
                </a:lnTo>
                <a:lnTo>
                  <a:pt x="0" y="0"/>
                </a:lnTo>
                <a:cubicBezTo>
                  <a:pt x="0" y="0"/>
                  <a:pt x="0" y="642698"/>
                  <a:pt x="0" y="642698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A481CB15-38AD-FB75-F1D4-B6DD9B7F2182}"/>
              </a:ext>
            </a:extLst>
          </p:cNvPr>
          <p:cNvSpPr/>
          <p:nvPr/>
        </p:nvSpPr>
        <p:spPr>
          <a:xfrm>
            <a:off x="6841732" y="4483704"/>
            <a:ext cx="1464" cy="2988"/>
          </a:xfrm>
          <a:custGeom>
            <a:avLst/>
            <a:gdLst>
              <a:gd name="connsiteX0" fmla="*/ 1464 w 1464"/>
              <a:gd name="connsiteY0" fmla="*/ 0 h 2988"/>
              <a:gd name="connsiteX1" fmla="*/ 0 w 1464"/>
              <a:gd name="connsiteY1" fmla="*/ 2989 h 2988"/>
              <a:gd name="connsiteX2" fmla="*/ 1464 w 1464"/>
              <a:gd name="connsiteY2" fmla="*/ 0 h 2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64" h="2988">
                <a:moveTo>
                  <a:pt x="1464" y="0"/>
                </a:moveTo>
                <a:cubicBezTo>
                  <a:pt x="976" y="976"/>
                  <a:pt x="488" y="2013"/>
                  <a:pt x="0" y="2989"/>
                </a:cubicBezTo>
                <a:cubicBezTo>
                  <a:pt x="488" y="2013"/>
                  <a:pt x="976" y="976"/>
                  <a:pt x="1464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9643FA6D-407A-357E-4A7B-FE0C3CAB8867}"/>
              </a:ext>
            </a:extLst>
          </p:cNvPr>
          <p:cNvSpPr/>
          <p:nvPr/>
        </p:nvSpPr>
        <p:spPr>
          <a:xfrm>
            <a:off x="6780377" y="4709484"/>
            <a:ext cx="305" cy="3964"/>
          </a:xfrm>
          <a:custGeom>
            <a:avLst/>
            <a:gdLst>
              <a:gd name="connsiteX0" fmla="*/ 305 w 305"/>
              <a:gd name="connsiteY0" fmla="*/ 0 h 3964"/>
              <a:gd name="connsiteX1" fmla="*/ 0 w 305"/>
              <a:gd name="connsiteY1" fmla="*/ 3964 h 3964"/>
              <a:gd name="connsiteX2" fmla="*/ 305 w 305"/>
              <a:gd name="connsiteY2" fmla="*/ 0 h 3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5" h="3964">
                <a:moveTo>
                  <a:pt x="305" y="0"/>
                </a:moveTo>
                <a:cubicBezTo>
                  <a:pt x="183" y="1342"/>
                  <a:pt x="122" y="2622"/>
                  <a:pt x="0" y="3964"/>
                </a:cubicBezTo>
                <a:cubicBezTo>
                  <a:pt x="61" y="2622"/>
                  <a:pt x="183" y="1342"/>
                  <a:pt x="305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BDDCACA1-3740-4B2E-FA1A-B4318ED623A9}"/>
              </a:ext>
            </a:extLst>
          </p:cNvPr>
          <p:cNvSpPr/>
          <p:nvPr/>
        </p:nvSpPr>
        <p:spPr>
          <a:xfrm>
            <a:off x="8410519" y="4689667"/>
            <a:ext cx="914" cy="1158"/>
          </a:xfrm>
          <a:custGeom>
            <a:avLst/>
            <a:gdLst>
              <a:gd name="connsiteX0" fmla="*/ 915 w 914"/>
              <a:gd name="connsiteY0" fmla="*/ 0 h 1158"/>
              <a:gd name="connsiteX1" fmla="*/ 0 w 914"/>
              <a:gd name="connsiteY1" fmla="*/ 1159 h 1158"/>
              <a:gd name="connsiteX2" fmla="*/ 915 w 914"/>
              <a:gd name="connsiteY2" fmla="*/ 0 h 1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4" h="1158">
                <a:moveTo>
                  <a:pt x="915" y="0"/>
                </a:moveTo>
                <a:cubicBezTo>
                  <a:pt x="610" y="366"/>
                  <a:pt x="305" y="732"/>
                  <a:pt x="0" y="1159"/>
                </a:cubicBezTo>
                <a:cubicBezTo>
                  <a:pt x="305" y="793"/>
                  <a:pt x="610" y="427"/>
                  <a:pt x="915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F92D9F9-2FBC-50CE-4BAD-8D232E4C66A5}"/>
              </a:ext>
            </a:extLst>
          </p:cNvPr>
          <p:cNvSpPr/>
          <p:nvPr/>
        </p:nvSpPr>
        <p:spPr>
          <a:xfrm>
            <a:off x="8427962" y="4668139"/>
            <a:ext cx="2134" cy="2439"/>
          </a:xfrm>
          <a:custGeom>
            <a:avLst/>
            <a:gdLst>
              <a:gd name="connsiteX0" fmla="*/ 2134 w 2134"/>
              <a:gd name="connsiteY0" fmla="*/ 0 h 2439"/>
              <a:gd name="connsiteX1" fmla="*/ 0 w 2134"/>
              <a:gd name="connsiteY1" fmla="*/ 2440 h 2439"/>
              <a:gd name="connsiteX2" fmla="*/ 2134 w 2134"/>
              <a:gd name="connsiteY2" fmla="*/ 0 h 2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34" h="2439">
                <a:moveTo>
                  <a:pt x="2134" y="0"/>
                </a:moveTo>
                <a:cubicBezTo>
                  <a:pt x="1403" y="793"/>
                  <a:pt x="671" y="1586"/>
                  <a:pt x="0" y="2440"/>
                </a:cubicBezTo>
                <a:cubicBezTo>
                  <a:pt x="732" y="1647"/>
                  <a:pt x="1464" y="854"/>
                  <a:pt x="2134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491F14DC-5E65-8327-B1C3-6BBDB8321BE9}"/>
              </a:ext>
            </a:extLst>
          </p:cNvPr>
          <p:cNvSpPr/>
          <p:nvPr/>
        </p:nvSpPr>
        <p:spPr>
          <a:xfrm>
            <a:off x="6796173" y="4606657"/>
            <a:ext cx="1158" cy="4696"/>
          </a:xfrm>
          <a:custGeom>
            <a:avLst/>
            <a:gdLst>
              <a:gd name="connsiteX0" fmla="*/ 1159 w 1158"/>
              <a:gd name="connsiteY0" fmla="*/ 0 h 4696"/>
              <a:gd name="connsiteX1" fmla="*/ 0 w 1158"/>
              <a:gd name="connsiteY1" fmla="*/ 4696 h 4696"/>
              <a:gd name="connsiteX2" fmla="*/ 1159 w 1158"/>
              <a:gd name="connsiteY2" fmla="*/ 0 h 4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58" h="4696">
                <a:moveTo>
                  <a:pt x="1159" y="0"/>
                </a:moveTo>
                <a:cubicBezTo>
                  <a:pt x="732" y="1586"/>
                  <a:pt x="366" y="3172"/>
                  <a:pt x="0" y="4696"/>
                </a:cubicBezTo>
                <a:cubicBezTo>
                  <a:pt x="366" y="3110"/>
                  <a:pt x="793" y="1525"/>
                  <a:pt x="1159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9F2A0BF0-0AE7-0F0A-B44C-577BC0918450}"/>
              </a:ext>
            </a:extLst>
          </p:cNvPr>
          <p:cNvSpPr/>
          <p:nvPr/>
        </p:nvSpPr>
        <p:spPr>
          <a:xfrm>
            <a:off x="6962367" y="4318181"/>
            <a:ext cx="3781" cy="3598"/>
          </a:xfrm>
          <a:custGeom>
            <a:avLst/>
            <a:gdLst>
              <a:gd name="connsiteX0" fmla="*/ 3781 w 3781"/>
              <a:gd name="connsiteY0" fmla="*/ 0 h 3598"/>
              <a:gd name="connsiteX1" fmla="*/ 0 w 3781"/>
              <a:gd name="connsiteY1" fmla="*/ 3598 h 3598"/>
              <a:gd name="connsiteX2" fmla="*/ 3781 w 3781"/>
              <a:gd name="connsiteY2" fmla="*/ 0 h 3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81" h="3598">
                <a:moveTo>
                  <a:pt x="3781" y="0"/>
                </a:moveTo>
                <a:cubicBezTo>
                  <a:pt x="2500" y="1220"/>
                  <a:pt x="1281" y="2440"/>
                  <a:pt x="0" y="3598"/>
                </a:cubicBezTo>
                <a:cubicBezTo>
                  <a:pt x="1281" y="2378"/>
                  <a:pt x="2500" y="1159"/>
                  <a:pt x="3781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AC474056-B688-C28E-9CE7-D9A807454AAD}"/>
              </a:ext>
            </a:extLst>
          </p:cNvPr>
          <p:cNvSpPr/>
          <p:nvPr/>
        </p:nvSpPr>
        <p:spPr>
          <a:xfrm>
            <a:off x="6791904" y="4627454"/>
            <a:ext cx="549" cy="2317"/>
          </a:xfrm>
          <a:custGeom>
            <a:avLst/>
            <a:gdLst>
              <a:gd name="connsiteX0" fmla="*/ 549 w 549"/>
              <a:gd name="connsiteY0" fmla="*/ 0 h 2317"/>
              <a:gd name="connsiteX1" fmla="*/ 0 w 549"/>
              <a:gd name="connsiteY1" fmla="*/ 2318 h 2317"/>
              <a:gd name="connsiteX2" fmla="*/ 549 w 549"/>
              <a:gd name="connsiteY2" fmla="*/ 0 h 2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9" h="2317">
                <a:moveTo>
                  <a:pt x="549" y="0"/>
                </a:moveTo>
                <a:cubicBezTo>
                  <a:pt x="366" y="793"/>
                  <a:pt x="183" y="1586"/>
                  <a:pt x="0" y="2318"/>
                </a:cubicBezTo>
                <a:cubicBezTo>
                  <a:pt x="183" y="1525"/>
                  <a:pt x="366" y="732"/>
                  <a:pt x="549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9D601A1F-8D2A-390E-353E-2DE295ABFB3D}"/>
              </a:ext>
            </a:extLst>
          </p:cNvPr>
          <p:cNvSpPr/>
          <p:nvPr/>
        </p:nvSpPr>
        <p:spPr>
          <a:xfrm>
            <a:off x="6802150" y="4587873"/>
            <a:ext cx="244" cy="731"/>
          </a:xfrm>
          <a:custGeom>
            <a:avLst/>
            <a:gdLst>
              <a:gd name="connsiteX0" fmla="*/ 244 w 244"/>
              <a:gd name="connsiteY0" fmla="*/ 0 h 731"/>
              <a:gd name="connsiteX1" fmla="*/ 0 w 244"/>
              <a:gd name="connsiteY1" fmla="*/ 732 h 731"/>
              <a:gd name="connsiteX2" fmla="*/ 244 w 244"/>
              <a:gd name="connsiteY2" fmla="*/ 0 h 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4" h="731">
                <a:moveTo>
                  <a:pt x="244" y="0"/>
                </a:moveTo>
                <a:cubicBezTo>
                  <a:pt x="244" y="0"/>
                  <a:pt x="122" y="488"/>
                  <a:pt x="0" y="732"/>
                </a:cubicBezTo>
                <a:cubicBezTo>
                  <a:pt x="61" y="488"/>
                  <a:pt x="122" y="244"/>
                  <a:pt x="244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9E53805A-7630-17E2-09B4-F9708C3CD40F}"/>
              </a:ext>
            </a:extLst>
          </p:cNvPr>
          <p:cNvSpPr/>
          <p:nvPr/>
        </p:nvSpPr>
        <p:spPr>
          <a:xfrm>
            <a:off x="6814836" y="4548047"/>
            <a:ext cx="488" cy="1280"/>
          </a:xfrm>
          <a:custGeom>
            <a:avLst/>
            <a:gdLst>
              <a:gd name="connsiteX0" fmla="*/ 488 w 488"/>
              <a:gd name="connsiteY0" fmla="*/ 0 h 1280"/>
              <a:gd name="connsiteX1" fmla="*/ 0 w 488"/>
              <a:gd name="connsiteY1" fmla="*/ 1281 h 1280"/>
              <a:gd name="connsiteX2" fmla="*/ 488 w 488"/>
              <a:gd name="connsiteY2" fmla="*/ 0 h 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8" h="1280">
                <a:moveTo>
                  <a:pt x="488" y="0"/>
                </a:moveTo>
                <a:cubicBezTo>
                  <a:pt x="305" y="427"/>
                  <a:pt x="183" y="854"/>
                  <a:pt x="0" y="1281"/>
                </a:cubicBezTo>
                <a:cubicBezTo>
                  <a:pt x="183" y="854"/>
                  <a:pt x="305" y="427"/>
                  <a:pt x="488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38C0A001-D542-5C73-A462-01F83F4631F9}"/>
              </a:ext>
            </a:extLst>
          </p:cNvPr>
          <p:cNvSpPr/>
          <p:nvPr/>
        </p:nvSpPr>
        <p:spPr>
          <a:xfrm>
            <a:off x="6779340" y="4731806"/>
            <a:ext cx="122" cy="4025"/>
          </a:xfrm>
          <a:custGeom>
            <a:avLst/>
            <a:gdLst>
              <a:gd name="connsiteX0" fmla="*/ 122 w 122"/>
              <a:gd name="connsiteY0" fmla="*/ 0 h 4025"/>
              <a:gd name="connsiteX1" fmla="*/ 0 w 122"/>
              <a:gd name="connsiteY1" fmla="*/ 4025 h 4025"/>
              <a:gd name="connsiteX2" fmla="*/ 122 w 122"/>
              <a:gd name="connsiteY2" fmla="*/ 0 h 4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2" h="4025">
                <a:moveTo>
                  <a:pt x="122" y="0"/>
                </a:moveTo>
                <a:cubicBezTo>
                  <a:pt x="122" y="1342"/>
                  <a:pt x="61" y="2683"/>
                  <a:pt x="0" y="4025"/>
                </a:cubicBezTo>
                <a:cubicBezTo>
                  <a:pt x="0" y="2683"/>
                  <a:pt x="61" y="1342"/>
                  <a:pt x="122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8E83439A-F01F-5185-8140-362319E66FD1}"/>
              </a:ext>
            </a:extLst>
          </p:cNvPr>
          <p:cNvSpPr/>
          <p:nvPr/>
        </p:nvSpPr>
        <p:spPr>
          <a:xfrm>
            <a:off x="8393808" y="4710648"/>
            <a:ext cx="976" cy="1280"/>
          </a:xfrm>
          <a:custGeom>
            <a:avLst/>
            <a:gdLst>
              <a:gd name="connsiteX0" fmla="*/ 976 w 976"/>
              <a:gd name="connsiteY0" fmla="*/ 0 h 1280"/>
              <a:gd name="connsiteX1" fmla="*/ 0 w 976"/>
              <a:gd name="connsiteY1" fmla="*/ 1281 h 1280"/>
              <a:gd name="connsiteX2" fmla="*/ 976 w 976"/>
              <a:gd name="connsiteY2" fmla="*/ 0 h 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6" h="1280">
                <a:moveTo>
                  <a:pt x="976" y="0"/>
                </a:moveTo>
                <a:cubicBezTo>
                  <a:pt x="671" y="427"/>
                  <a:pt x="305" y="854"/>
                  <a:pt x="0" y="1281"/>
                </a:cubicBezTo>
                <a:cubicBezTo>
                  <a:pt x="305" y="854"/>
                  <a:pt x="671" y="427"/>
                  <a:pt x="976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72" name="Freeform: Shape 1471">
            <a:extLst>
              <a:ext uri="{FF2B5EF4-FFF2-40B4-BE49-F238E27FC236}">
                <a16:creationId xmlns:a16="http://schemas.microsoft.com/office/drawing/2014/main" id="{0757F1E4-D49B-9BE2-0E00-AB031F4B9937}"/>
              </a:ext>
            </a:extLst>
          </p:cNvPr>
          <p:cNvSpPr/>
          <p:nvPr/>
        </p:nvSpPr>
        <p:spPr>
          <a:xfrm>
            <a:off x="6782024" y="4689724"/>
            <a:ext cx="426" cy="4391"/>
          </a:xfrm>
          <a:custGeom>
            <a:avLst/>
            <a:gdLst>
              <a:gd name="connsiteX0" fmla="*/ 427 w 426"/>
              <a:gd name="connsiteY0" fmla="*/ 0 h 4391"/>
              <a:gd name="connsiteX1" fmla="*/ 0 w 426"/>
              <a:gd name="connsiteY1" fmla="*/ 4391 h 4391"/>
              <a:gd name="connsiteX2" fmla="*/ 427 w 426"/>
              <a:gd name="connsiteY2" fmla="*/ 0 h 4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6" h="4391">
                <a:moveTo>
                  <a:pt x="427" y="0"/>
                </a:moveTo>
                <a:cubicBezTo>
                  <a:pt x="244" y="1464"/>
                  <a:pt x="122" y="2928"/>
                  <a:pt x="0" y="4391"/>
                </a:cubicBezTo>
                <a:cubicBezTo>
                  <a:pt x="122" y="2928"/>
                  <a:pt x="305" y="1464"/>
                  <a:pt x="427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74" name="Freeform: Shape 1473">
            <a:extLst>
              <a:ext uri="{FF2B5EF4-FFF2-40B4-BE49-F238E27FC236}">
                <a16:creationId xmlns:a16="http://schemas.microsoft.com/office/drawing/2014/main" id="{F0E54D6C-556D-A121-A18F-6E02021668B2}"/>
              </a:ext>
            </a:extLst>
          </p:cNvPr>
          <p:cNvSpPr/>
          <p:nvPr/>
        </p:nvSpPr>
        <p:spPr>
          <a:xfrm>
            <a:off x="6782329" y="4816031"/>
            <a:ext cx="244" cy="2378"/>
          </a:xfrm>
          <a:custGeom>
            <a:avLst/>
            <a:gdLst>
              <a:gd name="connsiteX0" fmla="*/ 0 w 244"/>
              <a:gd name="connsiteY0" fmla="*/ 0 h 2378"/>
              <a:gd name="connsiteX1" fmla="*/ 244 w 244"/>
              <a:gd name="connsiteY1" fmla="*/ 2378 h 2378"/>
              <a:gd name="connsiteX2" fmla="*/ 0 w 244"/>
              <a:gd name="connsiteY2" fmla="*/ 0 h 23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4" h="2378">
                <a:moveTo>
                  <a:pt x="0" y="0"/>
                </a:moveTo>
                <a:cubicBezTo>
                  <a:pt x="61" y="793"/>
                  <a:pt x="183" y="1586"/>
                  <a:pt x="244" y="2378"/>
                </a:cubicBezTo>
                <a:cubicBezTo>
                  <a:pt x="183" y="1586"/>
                  <a:pt x="61" y="793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76" name="Freeform: Shape 1475">
            <a:extLst>
              <a:ext uri="{FF2B5EF4-FFF2-40B4-BE49-F238E27FC236}">
                <a16:creationId xmlns:a16="http://schemas.microsoft.com/office/drawing/2014/main" id="{7231A451-5316-E229-04BF-22022D064595}"/>
              </a:ext>
            </a:extLst>
          </p:cNvPr>
          <p:cNvSpPr/>
          <p:nvPr/>
        </p:nvSpPr>
        <p:spPr>
          <a:xfrm>
            <a:off x="6780377" y="4792977"/>
            <a:ext cx="305" cy="4696"/>
          </a:xfrm>
          <a:custGeom>
            <a:avLst/>
            <a:gdLst>
              <a:gd name="connsiteX0" fmla="*/ 0 w 305"/>
              <a:gd name="connsiteY0" fmla="*/ 0 h 4696"/>
              <a:gd name="connsiteX1" fmla="*/ 305 w 305"/>
              <a:gd name="connsiteY1" fmla="*/ 4696 h 4696"/>
              <a:gd name="connsiteX2" fmla="*/ 0 w 305"/>
              <a:gd name="connsiteY2" fmla="*/ 0 h 4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5" h="4696">
                <a:moveTo>
                  <a:pt x="0" y="0"/>
                </a:moveTo>
                <a:cubicBezTo>
                  <a:pt x="122" y="1586"/>
                  <a:pt x="183" y="3110"/>
                  <a:pt x="305" y="4696"/>
                </a:cubicBezTo>
                <a:cubicBezTo>
                  <a:pt x="183" y="3110"/>
                  <a:pt x="61" y="1586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77" name="Freeform: Shape 1476">
            <a:extLst>
              <a:ext uri="{FF2B5EF4-FFF2-40B4-BE49-F238E27FC236}">
                <a16:creationId xmlns:a16="http://schemas.microsoft.com/office/drawing/2014/main" id="{924DFBF2-D327-7E76-104E-BEC0D6384892}"/>
              </a:ext>
            </a:extLst>
          </p:cNvPr>
          <p:cNvSpPr/>
          <p:nvPr/>
        </p:nvSpPr>
        <p:spPr>
          <a:xfrm>
            <a:off x="6854173" y="4459492"/>
            <a:ext cx="1890" cy="3415"/>
          </a:xfrm>
          <a:custGeom>
            <a:avLst/>
            <a:gdLst>
              <a:gd name="connsiteX0" fmla="*/ 1891 w 1890"/>
              <a:gd name="connsiteY0" fmla="*/ 0 h 3415"/>
              <a:gd name="connsiteX1" fmla="*/ 0 w 1890"/>
              <a:gd name="connsiteY1" fmla="*/ 3415 h 3415"/>
              <a:gd name="connsiteX2" fmla="*/ 1891 w 1890"/>
              <a:gd name="connsiteY2" fmla="*/ 0 h 3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90" h="3415">
                <a:moveTo>
                  <a:pt x="1891" y="0"/>
                </a:moveTo>
                <a:cubicBezTo>
                  <a:pt x="1281" y="1159"/>
                  <a:pt x="610" y="2257"/>
                  <a:pt x="0" y="3415"/>
                </a:cubicBezTo>
                <a:cubicBezTo>
                  <a:pt x="610" y="2257"/>
                  <a:pt x="1281" y="1159"/>
                  <a:pt x="1891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78" name="Freeform: Shape 1477">
            <a:extLst>
              <a:ext uri="{FF2B5EF4-FFF2-40B4-BE49-F238E27FC236}">
                <a16:creationId xmlns:a16="http://schemas.microsoft.com/office/drawing/2014/main" id="{3306D99A-CD88-D708-E88E-572A0C6294C2}"/>
              </a:ext>
            </a:extLst>
          </p:cNvPr>
          <p:cNvSpPr/>
          <p:nvPr/>
        </p:nvSpPr>
        <p:spPr>
          <a:xfrm>
            <a:off x="6867957" y="4435950"/>
            <a:ext cx="2073" cy="3293"/>
          </a:xfrm>
          <a:custGeom>
            <a:avLst/>
            <a:gdLst>
              <a:gd name="connsiteX0" fmla="*/ 2073 w 2073"/>
              <a:gd name="connsiteY0" fmla="*/ 0 h 3293"/>
              <a:gd name="connsiteX1" fmla="*/ 0 w 2073"/>
              <a:gd name="connsiteY1" fmla="*/ 3293 h 3293"/>
              <a:gd name="connsiteX2" fmla="*/ 2073 w 2073"/>
              <a:gd name="connsiteY2" fmla="*/ 0 h 3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73" h="3293">
                <a:moveTo>
                  <a:pt x="2073" y="0"/>
                </a:moveTo>
                <a:cubicBezTo>
                  <a:pt x="1403" y="1098"/>
                  <a:pt x="671" y="2195"/>
                  <a:pt x="0" y="3293"/>
                </a:cubicBezTo>
                <a:cubicBezTo>
                  <a:pt x="671" y="2195"/>
                  <a:pt x="1342" y="1098"/>
                  <a:pt x="2073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79" name="Freeform: Shape 1478">
            <a:extLst>
              <a:ext uri="{FF2B5EF4-FFF2-40B4-BE49-F238E27FC236}">
                <a16:creationId xmlns:a16="http://schemas.microsoft.com/office/drawing/2014/main" id="{60EA93E4-E844-EC6E-F013-9026EE0EE866}"/>
              </a:ext>
            </a:extLst>
          </p:cNvPr>
          <p:cNvSpPr/>
          <p:nvPr/>
        </p:nvSpPr>
        <p:spPr>
          <a:xfrm>
            <a:off x="6784707" y="4668134"/>
            <a:ext cx="488" cy="3354"/>
          </a:xfrm>
          <a:custGeom>
            <a:avLst/>
            <a:gdLst>
              <a:gd name="connsiteX0" fmla="*/ 488 w 488"/>
              <a:gd name="connsiteY0" fmla="*/ 0 h 3354"/>
              <a:gd name="connsiteX1" fmla="*/ 0 w 488"/>
              <a:gd name="connsiteY1" fmla="*/ 3354 h 3354"/>
              <a:gd name="connsiteX2" fmla="*/ 488 w 488"/>
              <a:gd name="connsiteY2" fmla="*/ 0 h 3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8" h="3354">
                <a:moveTo>
                  <a:pt x="488" y="0"/>
                </a:moveTo>
                <a:cubicBezTo>
                  <a:pt x="305" y="1098"/>
                  <a:pt x="122" y="2195"/>
                  <a:pt x="0" y="3354"/>
                </a:cubicBezTo>
                <a:cubicBezTo>
                  <a:pt x="183" y="2257"/>
                  <a:pt x="305" y="1159"/>
                  <a:pt x="488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80" name="Freeform: Shape 1479">
            <a:extLst>
              <a:ext uri="{FF2B5EF4-FFF2-40B4-BE49-F238E27FC236}">
                <a16:creationId xmlns:a16="http://schemas.microsoft.com/office/drawing/2014/main" id="{4740D10F-DED8-DE44-D8B8-8270546225B9}"/>
              </a:ext>
            </a:extLst>
          </p:cNvPr>
          <p:cNvSpPr/>
          <p:nvPr/>
        </p:nvSpPr>
        <p:spPr>
          <a:xfrm>
            <a:off x="6883082" y="4413324"/>
            <a:ext cx="1829" cy="2683"/>
          </a:xfrm>
          <a:custGeom>
            <a:avLst/>
            <a:gdLst>
              <a:gd name="connsiteX0" fmla="*/ 1830 w 1829"/>
              <a:gd name="connsiteY0" fmla="*/ 0 h 2683"/>
              <a:gd name="connsiteX1" fmla="*/ 0 w 1829"/>
              <a:gd name="connsiteY1" fmla="*/ 2683 h 2683"/>
              <a:gd name="connsiteX2" fmla="*/ 1830 w 1829"/>
              <a:gd name="connsiteY2" fmla="*/ 0 h 2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29" h="2683">
                <a:moveTo>
                  <a:pt x="1830" y="0"/>
                </a:moveTo>
                <a:cubicBezTo>
                  <a:pt x="1220" y="915"/>
                  <a:pt x="610" y="1769"/>
                  <a:pt x="0" y="2683"/>
                </a:cubicBezTo>
                <a:cubicBezTo>
                  <a:pt x="610" y="1769"/>
                  <a:pt x="1220" y="915"/>
                  <a:pt x="183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82" name="Freeform: Shape 1481">
            <a:extLst>
              <a:ext uri="{FF2B5EF4-FFF2-40B4-BE49-F238E27FC236}">
                <a16:creationId xmlns:a16="http://schemas.microsoft.com/office/drawing/2014/main" id="{A77ABBDC-DB73-70AD-26FF-26D08806F892}"/>
              </a:ext>
            </a:extLst>
          </p:cNvPr>
          <p:cNvSpPr/>
          <p:nvPr/>
        </p:nvSpPr>
        <p:spPr>
          <a:xfrm>
            <a:off x="6822032" y="4526030"/>
            <a:ext cx="1829" cy="4513"/>
          </a:xfrm>
          <a:custGeom>
            <a:avLst/>
            <a:gdLst>
              <a:gd name="connsiteX0" fmla="*/ 1830 w 1829"/>
              <a:gd name="connsiteY0" fmla="*/ 0 h 4513"/>
              <a:gd name="connsiteX1" fmla="*/ 0 w 1829"/>
              <a:gd name="connsiteY1" fmla="*/ 4513 h 4513"/>
              <a:gd name="connsiteX2" fmla="*/ 1830 w 1829"/>
              <a:gd name="connsiteY2" fmla="*/ 0 h 4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29" h="4513">
                <a:moveTo>
                  <a:pt x="1830" y="0"/>
                </a:moveTo>
                <a:cubicBezTo>
                  <a:pt x="1220" y="1525"/>
                  <a:pt x="610" y="2989"/>
                  <a:pt x="0" y="4513"/>
                </a:cubicBezTo>
                <a:cubicBezTo>
                  <a:pt x="610" y="2989"/>
                  <a:pt x="1220" y="1525"/>
                  <a:pt x="183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83" name="Freeform: Shape 1482">
            <a:extLst>
              <a:ext uri="{FF2B5EF4-FFF2-40B4-BE49-F238E27FC236}">
                <a16:creationId xmlns:a16="http://schemas.microsoft.com/office/drawing/2014/main" id="{ABAA61C6-8A60-D132-F0EF-DC44260C3083}"/>
              </a:ext>
            </a:extLst>
          </p:cNvPr>
          <p:cNvSpPr/>
          <p:nvPr/>
        </p:nvSpPr>
        <p:spPr>
          <a:xfrm>
            <a:off x="6779401" y="4773949"/>
            <a:ext cx="122" cy="3354"/>
          </a:xfrm>
          <a:custGeom>
            <a:avLst/>
            <a:gdLst>
              <a:gd name="connsiteX0" fmla="*/ 0 w 122"/>
              <a:gd name="connsiteY0" fmla="*/ 0 h 3354"/>
              <a:gd name="connsiteX1" fmla="*/ 122 w 122"/>
              <a:gd name="connsiteY1" fmla="*/ 3354 h 3354"/>
              <a:gd name="connsiteX2" fmla="*/ 0 w 122"/>
              <a:gd name="connsiteY2" fmla="*/ 0 h 3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2" h="3354">
                <a:moveTo>
                  <a:pt x="0" y="0"/>
                </a:moveTo>
                <a:cubicBezTo>
                  <a:pt x="0" y="1159"/>
                  <a:pt x="122" y="2257"/>
                  <a:pt x="122" y="3354"/>
                </a:cubicBezTo>
                <a:cubicBezTo>
                  <a:pt x="122" y="2257"/>
                  <a:pt x="0" y="1098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84" name="Freeform: Shape 1483">
            <a:extLst>
              <a:ext uri="{FF2B5EF4-FFF2-40B4-BE49-F238E27FC236}">
                <a16:creationId xmlns:a16="http://schemas.microsoft.com/office/drawing/2014/main" id="{ABF670D1-562D-F21E-4B25-EAD10804C12F}"/>
              </a:ext>
            </a:extLst>
          </p:cNvPr>
          <p:cNvSpPr/>
          <p:nvPr/>
        </p:nvSpPr>
        <p:spPr>
          <a:xfrm>
            <a:off x="6807639" y="4565917"/>
            <a:ext cx="1524" cy="4696"/>
          </a:xfrm>
          <a:custGeom>
            <a:avLst/>
            <a:gdLst>
              <a:gd name="connsiteX0" fmla="*/ 1525 w 1524"/>
              <a:gd name="connsiteY0" fmla="*/ 0 h 4696"/>
              <a:gd name="connsiteX1" fmla="*/ 0 w 1524"/>
              <a:gd name="connsiteY1" fmla="*/ 4696 h 4696"/>
              <a:gd name="connsiteX2" fmla="*/ 1525 w 1524"/>
              <a:gd name="connsiteY2" fmla="*/ 0 h 4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24" h="4696">
                <a:moveTo>
                  <a:pt x="1525" y="0"/>
                </a:moveTo>
                <a:cubicBezTo>
                  <a:pt x="1037" y="1586"/>
                  <a:pt x="488" y="3110"/>
                  <a:pt x="0" y="4696"/>
                </a:cubicBezTo>
                <a:cubicBezTo>
                  <a:pt x="488" y="3110"/>
                  <a:pt x="1037" y="1586"/>
                  <a:pt x="1525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85" name="Freeform: Shape 1484">
            <a:extLst>
              <a:ext uri="{FF2B5EF4-FFF2-40B4-BE49-F238E27FC236}">
                <a16:creationId xmlns:a16="http://schemas.microsoft.com/office/drawing/2014/main" id="{6C584762-3AC0-E8D8-6A58-67E08897BB5B}"/>
              </a:ext>
            </a:extLst>
          </p:cNvPr>
          <p:cNvSpPr/>
          <p:nvPr/>
        </p:nvSpPr>
        <p:spPr>
          <a:xfrm>
            <a:off x="6787635" y="4647947"/>
            <a:ext cx="792" cy="4635"/>
          </a:xfrm>
          <a:custGeom>
            <a:avLst/>
            <a:gdLst>
              <a:gd name="connsiteX0" fmla="*/ 793 w 792"/>
              <a:gd name="connsiteY0" fmla="*/ 0 h 4635"/>
              <a:gd name="connsiteX1" fmla="*/ 0 w 792"/>
              <a:gd name="connsiteY1" fmla="*/ 4635 h 4635"/>
              <a:gd name="connsiteX2" fmla="*/ 793 w 792"/>
              <a:gd name="connsiteY2" fmla="*/ 0 h 4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2" h="4635">
                <a:moveTo>
                  <a:pt x="793" y="0"/>
                </a:moveTo>
                <a:cubicBezTo>
                  <a:pt x="488" y="1525"/>
                  <a:pt x="244" y="3110"/>
                  <a:pt x="0" y="4635"/>
                </a:cubicBezTo>
                <a:cubicBezTo>
                  <a:pt x="244" y="3110"/>
                  <a:pt x="549" y="1525"/>
                  <a:pt x="793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86" name="Freeform: Shape 1485">
            <a:extLst>
              <a:ext uri="{FF2B5EF4-FFF2-40B4-BE49-F238E27FC236}">
                <a16:creationId xmlns:a16="http://schemas.microsoft.com/office/drawing/2014/main" id="{C967596B-4C3D-B772-271D-5101996D31D3}"/>
              </a:ext>
            </a:extLst>
          </p:cNvPr>
          <p:cNvSpPr/>
          <p:nvPr/>
        </p:nvSpPr>
        <p:spPr>
          <a:xfrm>
            <a:off x="6784646" y="4834755"/>
            <a:ext cx="670" cy="4818"/>
          </a:xfrm>
          <a:custGeom>
            <a:avLst/>
            <a:gdLst>
              <a:gd name="connsiteX0" fmla="*/ 0 w 670"/>
              <a:gd name="connsiteY0" fmla="*/ 0 h 4818"/>
              <a:gd name="connsiteX1" fmla="*/ 671 w 670"/>
              <a:gd name="connsiteY1" fmla="*/ 4818 h 4818"/>
              <a:gd name="connsiteX2" fmla="*/ 0 w 670"/>
              <a:gd name="connsiteY2" fmla="*/ 0 h 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70" h="4818">
                <a:moveTo>
                  <a:pt x="0" y="0"/>
                </a:moveTo>
                <a:cubicBezTo>
                  <a:pt x="244" y="1586"/>
                  <a:pt x="427" y="3232"/>
                  <a:pt x="671" y="4818"/>
                </a:cubicBezTo>
                <a:cubicBezTo>
                  <a:pt x="427" y="3232"/>
                  <a:pt x="183" y="1586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87" name="Freeform: Shape 1486">
            <a:extLst>
              <a:ext uri="{FF2B5EF4-FFF2-40B4-BE49-F238E27FC236}">
                <a16:creationId xmlns:a16="http://schemas.microsoft.com/office/drawing/2014/main" id="{20AE3A80-5884-7BC5-4530-25793EDF4565}"/>
              </a:ext>
            </a:extLst>
          </p:cNvPr>
          <p:cNvSpPr/>
          <p:nvPr/>
        </p:nvSpPr>
        <p:spPr>
          <a:xfrm>
            <a:off x="6779097" y="4751139"/>
            <a:ext cx="6098" cy="4452"/>
          </a:xfrm>
          <a:custGeom>
            <a:avLst/>
            <a:gdLst>
              <a:gd name="connsiteX0" fmla="*/ 0 w 6098"/>
              <a:gd name="connsiteY0" fmla="*/ 4452 h 4452"/>
              <a:gd name="connsiteX1" fmla="*/ 0 w 6098"/>
              <a:gd name="connsiteY1" fmla="*/ 0 h 4452"/>
              <a:gd name="connsiteX2" fmla="*/ 0 w 6098"/>
              <a:gd name="connsiteY2" fmla="*/ 4452 h 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98" h="4452">
                <a:moveTo>
                  <a:pt x="0" y="4452"/>
                </a:moveTo>
                <a:cubicBezTo>
                  <a:pt x="0" y="2988"/>
                  <a:pt x="0" y="1525"/>
                  <a:pt x="0" y="0"/>
                </a:cubicBezTo>
                <a:cubicBezTo>
                  <a:pt x="0" y="1464"/>
                  <a:pt x="0" y="2928"/>
                  <a:pt x="0" y="4452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88" name="Freeform: Shape 1487">
            <a:extLst>
              <a:ext uri="{FF2B5EF4-FFF2-40B4-BE49-F238E27FC236}">
                <a16:creationId xmlns:a16="http://schemas.microsoft.com/office/drawing/2014/main" id="{63D75832-3D0D-6D25-7729-2840ACDA918B}"/>
              </a:ext>
            </a:extLst>
          </p:cNvPr>
          <p:cNvSpPr/>
          <p:nvPr/>
        </p:nvSpPr>
        <p:spPr>
          <a:xfrm>
            <a:off x="6830266" y="4508466"/>
            <a:ext cx="1098" cy="2500"/>
          </a:xfrm>
          <a:custGeom>
            <a:avLst/>
            <a:gdLst>
              <a:gd name="connsiteX0" fmla="*/ 0 w 1098"/>
              <a:gd name="connsiteY0" fmla="*/ 2501 h 2500"/>
              <a:gd name="connsiteX1" fmla="*/ 1098 w 1098"/>
              <a:gd name="connsiteY1" fmla="*/ 0 h 2500"/>
              <a:gd name="connsiteX2" fmla="*/ 854 w 1098"/>
              <a:gd name="connsiteY2" fmla="*/ 488 h 2500"/>
              <a:gd name="connsiteX3" fmla="*/ 0 w 1098"/>
              <a:gd name="connsiteY3" fmla="*/ 2440 h 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8" h="2500">
                <a:moveTo>
                  <a:pt x="0" y="2501"/>
                </a:moveTo>
                <a:cubicBezTo>
                  <a:pt x="366" y="1647"/>
                  <a:pt x="732" y="854"/>
                  <a:pt x="1098" y="0"/>
                </a:cubicBezTo>
                <a:cubicBezTo>
                  <a:pt x="1037" y="183"/>
                  <a:pt x="915" y="366"/>
                  <a:pt x="854" y="488"/>
                </a:cubicBezTo>
                <a:cubicBezTo>
                  <a:pt x="549" y="1159"/>
                  <a:pt x="305" y="1830"/>
                  <a:pt x="0" y="244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98" name="Freeform: Shape 1497">
            <a:extLst>
              <a:ext uri="{FF2B5EF4-FFF2-40B4-BE49-F238E27FC236}">
                <a16:creationId xmlns:a16="http://schemas.microsoft.com/office/drawing/2014/main" id="{26F0FA35-81D4-E02A-A92C-21DC9828959F}"/>
              </a:ext>
            </a:extLst>
          </p:cNvPr>
          <p:cNvSpPr/>
          <p:nvPr/>
        </p:nvSpPr>
        <p:spPr>
          <a:xfrm>
            <a:off x="6809225" y="4940143"/>
            <a:ext cx="6220" cy="17564"/>
          </a:xfrm>
          <a:custGeom>
            <a:avLst/>
            <a:gdLst>
              <a:gd name="connsiteX0" fmla="*/ 0 w 6220"/>
              <a:gd name="connsiteY0" fmla="*/ 0 h 17564"/>
              <a:gd name="connsiteX1" fmla="*/ 6221 w 6220"/>
              <a:gd name="connsiteY1" fmla="*/ 17565 h 17564"/>
              <a:gd name="connsiteX2" fmla="*/ 0 w 6220"/>
              <a:gd name="connsiteY2" fmla="*/ 0 h 17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220" h="17564">
                <a:moveTo>
                  <a:pt x="0" y="0"/>
                </a:moveTo>
                <a:cubicBezTo>
                  <a:pt x="1952" y="5855"/>
                  <a:pt x="4025" y="11710"/>
                  <a:pt x="6221" y="17565"/>
                </a:cubicBezTo>
                <a:cubicBezTo>
                  <a:pt x="4086" y="11710"/>
                  <a:pt x="2012" y="5855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99" name="Freeform: Shape 1498">
            <a:extLst>
              <a:ext uri="{FF2B5EF4-FFF2-40B4-BE49-F238E27FC236}">
                <a16:creationId xmlns:a16="http://schemas.microsoft.com/office/drawing/2014/main" id="{2FAEDBBC-34ED-AA65-F17A-5E3D49734E71}"/>
              </a:ext>
            </a:extLst>
          </p:cNvPr>
          <p:cNvSpPr/>
          <p:nvPr/>
        </p:nvSpPr>
        <p:spPr>
          <a:xfrm>
            <a:off x="6803553" y="4921968"/>
            <a:ext cx="4879" cy="15552"/>
          </a:xfrm>
          <a:custGeom>
            <a:avLst/>
            <a:gdLst>
              <a:gd name="connsiteX0" fmla="*/ 0 w 4879"/>
              <a:gd name="connsiteY0" fmla="*/ 0 h 15552"/>
              <a:gd name="connsiteX1" fmla="*/ 4879 w 4879"/>
              <a:gd name="connsiteY1" fmla="*/ 15552 h 15552"/>
              <a:gd name="connsiteX2" fmla="*/ 0 w 4879"/>
              <a:gd name="connsiteY2" fmla="*/ 0 h 1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79" h="15552">
                <a:moveTo>
                  <a:pt x="0" y="0"/>
                </a:moveTo>
                <a:cubicBezTo>
                  <a:pt x="1525" y="5184"/>
                  <a:pt x="3171" y="10368"/>
                  <a:pt x="4879" y="15552"/>
                </a:cubicBezTo>
                <a:cubicBezTo>
                  <a:pt x="3171" y="10368"/>
                  <a:pt x="1585" y="5184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0" name="Freeform: Shape 1499">
            <a:extLst>
              <a:ext uri="{FF2B5EF4-FFF2-40B4-BE49-F238E27FC236}">
                <a16:creationId xmlns:a16="http://schemas.microsoft.com/office/drawing/2014/main" id="{0ECDA608-5A43-71B1-9F05-7144721BD960}"/>
              </a:ext>
            </a:extLst>
          </p:cNvPr>
          <p:cNvSpPr/>
          <p:nvPr/>
        </p:nvSpPr>
        <p:spPr>
          <a:xfrm>
            <a:off x="6788428" y="4858601"/>
            <a:ext cx="3476" cy="17625"/>
          </a:xfrm>
          <a:custGeom>
            <a:avLst/>
            <a:gdLst>
              <a:gd name="connsiteX0" fmla="*/ 0 w 3476"/>
              <a:gd name="connsiteY0" fmla="*/ 0 h 17625"/>
              <a:gd name="connsiteX1" fmla="*/ 3476 w 3476"/>
              <a:gd name="connsiteY1" fmla="*/ 17626 h 17625"/>
              <a:gd name="connsiteX2" fmla="*/ 0 w 3476"/>
              <a:gd name="connsiteY2" fmla="*/ 0 h 17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6" h="17625">
                <a:moveTo>
                  <a:pt x="0" y="0"/>
                </a:moveTo>
                <a:cubicBezTo>
                  <a:pt x="1037" y="5916"/>
                  <a:pt x="2257" y="11771"/>
                  <a:pt x="3476" y="17626"/>
                </a:cubicBezTo>
                <a:cubicBezTo>
                  <a:pt x="2257" y="11771"/>
                  <a:pt x="1037" y="5916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1" name="Freeform: Shape 1500">
            <a:extLst>
              <a:ext uri="{FF2B5EF4-FFF2-40B4-BE49-F238E27FC236}">
                <a16:creationId xmlns:a16="http://schemas.microsoft.com/office/drawing/2014/main" id="{075DA22F-5004-5002-052A-353269459266}"/>
              </a:ext>
            </a:extLst>
          </p:cNvPr>
          <p:cNvSpPr/>
          <p:nvPr/>
        </p:nvSpPr>
        <p:spPr>
          <a:xfrm>
            <a:off x="6797271" y="4899341"/>
            <a:ext cx="4879" cy="17930"/>
          </a:xfrm>
          <a:custGeom>
            <a:avLst/>
            <a:gdLst>
              <a:gd name="connsiteX0" fmla="*/ 0 w 4879"/>
              <a:gd name="connsiteY0" fmla="*/ 0 h 17930"/>
              <a:gd name="connsiteX1" fmla="*/ 4879 w 4879"/>
              <a:gd name="connsiteY1" fmla="*/ 17931 h 17930"/>
              <a:gd name="connsiteX2" fmla="*/ 0 w 4879"/>
              <a:gd name="connsiteY2" fmla="*/ 0 h 17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79" h="17930">
                <a:moveTo>
                  <a:pt x="0" y="0"/>
                </a:moveTo>
                <a:cubicBezTo>
                  <a:pt x="1525" y="6038"/>
                  <a:pt x="3172" y="12015"/>
                  <a:pt x="4879" y="17931"/>
                </a:cubicBezTo>
                <a:cubicBezTo>
                  <a:pt x="3172" y="11954"/>
                  <a:pt x="1525" y="5977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2" name="Freeform: Shape 1501">
            <a:extLst>
              <a:ext uri="{FF2B5EF4-FFF2-40B4-BE49-F238E27FC236}">
                <a16:creationId xmlns:a16="http://schemas.microsoft.com/office/drawing/2014/main" id="{86127985-F62A-0206-CC78-BD2794BBB4EF}"/>
              </a:ext>
            </a:extLst>
          </p:cNvPr>
          <p:cNvSpPr/>
          <p:nvPr/>
        </p:nvSpPr>
        <p:spPr>
          <a:xfrm>
            <a:off x="6786842" y="4848782"/>
            <a:ext cx="1464" cy="9087"/>
          </a:xfrm>
          <a:custGeom>
            <a:avLst/>
            <a:gdLst>
              <a:gd name="connsiteX0" fmla="*/ 1464 w 1464"/>
              <a:gd name="connsiteY0" fmla="*/ 9087 h 9087"/>
              <a:gd name="connsiteX1" fmla="*/ 0 w 1464"/>
              <a:gd name="connsiteY1" fmla="*/ 0 h 9087"/>
              <a:gd name="connsiteX2" fmla="*/ 0 w 1464"/>
              <a:gd name="connsiteY2" fmla="*/ 183 h 9087"/>
              <a:gd name="connsiteX3" fmla="*/ 1464 w 1464"/>
              <a:gd name="connsiteY3" fmla="*/ 9087 h 9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64" h="9087">
                <a:moveTo>
                  <a:pt x="1464" y="9087"/>
                </a:moveTo>
                <a:cubicBezTo>
                  <a:pt x="915" y="6038"/>
                  <a:pt x="488" y="2988"/>
                  <a:pt x="0" y="0"/>
                </a:cubicBezTo>
                <a:cubicBezTo>
                  <a:pt x="0" y="61"/>
                  <a:pt x="0" y="122"/>
                  <a:pt x="0" y="183"/>
                </a:cubicBezTo>
                <a:cubicBezTo>
                  <a:pt x="488" y="3171"/>
                  <a:pt x="976" y="6099"/>
                  <a:pt x="1464" y="9087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3" name="Freeform: Shape 1502">
            <a:extLst>
              <a:ext uri="{FF2B5EF4-FFF2-40B4-BE49-F238E27FC236}">
                <a16:creationId xmlns:a16="http://schemas.microsoft.com/office/drawing/2014/main" id="{2A1CC233-41D8-15D2-215B-95AC7BC524F9}"/>
              </a:ext>
            </a:extLst>
          </p:cNvPr>
          <p:cNvSpPr/>
          <p:nvPr/>
        </p:nvSpPr>
        <p:spPr>
          <a:xfrm>
            <a:off x="6817092" y="4962099"/>
            <a:ext cx="5793" cy="14698"/>
          </a:xfrm>
          <a:custGeom>
            <a:avLst/>
            <a:gdLst>
              <a:gd name="connsiteX0" fmla="*/ 0 w 5793"/>
              <a:gd name="connsiteY0" fmla="*/ 0 h 14698"/>
              <a:gd name="connsiteX1" fmla="*/ 5794 w 5793"/>
              <a:gd name="connsiteY1" fmla="*/ 14698 h 14698"/>
              <a:gd name="connsiteX2" fmla="*/ 0 w 5793"/>
              <a:gd name="connsiteY2" fmla="*/ 0 h 14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93" h="14698">
                <a:moveTo>
                  <a:pt x="0" y="0"/>
                </a:moveTo>
                <a:cubicBezTo>
                  <a:pt x="1830" y="4940"/>
                  <a:pt x="3781" y="9819"/>
                  <a:pt x="5794" y="14698"/>
                </a:cubicBezTo>
                <a:cubicBezTo>
                  <a:pt x="3781" y="9819"/>
                  <a:pt x="1891" y="4940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4" name="Freeform: Shape 1503">
            <a:extLst>
              <a:ext uri="{FF2B5EF4-FFF2-40B4-BE49-F238E27FC236}">
                <a16:creationId xmlns:a16="http://schemas.microsoft.com/office/drawing/2014/main" id="{7B9931EF-B5C1-C030-4A17-55D75AA25B6F}"/>
              </a:ext>
            </a:extLst>
          </p:cNvPr>
          <p:cNvSpPr/>
          <p:nvPr/>
        </p:nvSpPr>
        <p:spPr>
          <a:xfrm>
            <a:off x="6792941" y="4881045"/>
            <a:ext cx="3964" cy="16893"/>
          </a:xfrm>
          <a:custGeom>
            <a:avLst/>
            <a:gdLst>
              <a:gd name="connsiteX0" fmla="*/ 0 w 3964"/>
              <a:gd name="connsiteY0" fmla="*/ 0 h 16893"/>
              <a:gd name="connsiteX1" fmla="*/ 3964 w 3964"/>
              <a:gd name="connsiteY1" fmla="*/ 16894 h 16893"/>
              <a:gd name="connsiteX2" fmla="*/ 0 w 3964"/>
              <a:gd name="connsiteY2" fmla="*/ 0 h 16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64" h="16893">
                <a:moveTo>
                  <a:pt x="0" y="0"/>
                </a:moveTo>
                <a:cubicBezTo>
                  <a:pt x="1220" y="5672"/>
                  <a:pt x="2562" y="11283"/>
                  <a:pt x="3964" y="16894"/>
                </a:cubicBezTo>
                <a:cubicBezTo>
                  <a:pt x="2562" y="11283"/>
                  <a:pt x="1220" y="5672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5" name="Freeform: Shape 1504">
            <a:extLst>
              <a:ext uri="{FF2B5EF4-FFF2-40B4-BE49-F238E27FC236}">
                <a16:creationId xmlns:a16="http://schemas.microsoft.com/office/drawing/2014/main" id="{7BA73973-E120-2ABE-9393-354A45DCD934}"/>
              </a:ext>
            </a:extLst>
          </p:cNvPr>
          <p:cNvSpPr/>
          <p:nvPr/>
        </p:nvSpPr>
        <p:spPr>
          <a:xfrm>
            <a:off x="6824289" y="4980151"/>
            <a:ext cx="7501" cy="17137"/>
          </a:xfrm>
          <a:custGeom>
            <a:avLst/>
            <a:gdLst>
              <a:gd name="connsiteX0" fmla="*/ 0 w 7501"/>
              <a:gd name="connsiteY0" fmla="*/ 0 h 17137"/>
              <a:gd name="connsiteX1" fmla="*/ 7501 w 7501"/>
              <a:gd name="connsiteY1" fmla="*/ 17138 h 17137"/>
              <a:gd name="connsiteX2" fmla="*/ 0 w 7501"/>
              <a:gd name="connsiteY2" fmla="*/ 0 h 17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501" h="17137">
                <a:moveTo>
                  <a:pt x="0" y="0"/>
                </a:moveTo>
                <a:cubicBezTo>
                  <a:pt x="2379" y="5733"/>
                  <a:pt x="4879" y="11466"/>
                  <a:pt x="7501" y="17138"/>
                </a:cubicBezTo>
                <a:cubicBezTo>
                  <a:pt x="4940" y="11466"/>
                  <a:pt x="2440" y="5733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6" name="Freeform: Shape 1505">
            <a:extLst>
              <a:ext uri="{FF2B5EF4-FFF2-40B4-BE49-F238E27FC236}">
                <a16:creationId xmlns:a16="http://schemas.microsoft.com/office/drawing/2014/main" id="{0CD157AE-0B11-3EA9-B02D-3F124EDE1DE9}"/>
              </a:ext>
            </a:extLst>
          </p:cNvPr>
          <p:cNvSpPr/>
          <p:nvPr/>
        </p:nvSpPr>
        <p:spPr>
          <a:xfrm>
            <a:off x="6809164" y="4549389"/>
            <a:ext cx="5671" cy="16527"/>
          </a:xfrm>
          <a:custGeom>
            <a:avLst/>
            <a:gdLst>
              <a:gd name="connsiteX0" fmla="*/ 5672 w 5671"/>
              <a:gd name="connsiteY0" fmla="*/ 0 h 16527"/>
              <a:gd name="connsiteX1" fmla="*/ 0 w 5671"/>
              <a:gd name="connsiteY1" fmla="*/ 16528 h 16527"/>
              <a:gd name="connsiteX2" fmla="*/ 5672 w 5671"/>
              <a:gd name="connsiteY2" fmla="*/ 0 h 16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671" h="16527">
                <a:moveTo>
                  <a:pt x="5672" y="0"/>
                </a:moveTo>
                <a:cubicBezTo>
                  <a:pt x="3659" y="5489"/>
                  <a:pt x="1769" y="11039"/>
                  <a:pt x="0" y="16528"/>
                </a:cubicBezTo>
                <a:cubicBezTo>
                  <a:pt x="1830" y="10978"/>
                  <a:pt x="3720" y="5489"/>
                  <a:pt x="5672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7" name="Freeform: Shape 1506">
            <a:extLst>
              <a:ext uri="{FF2B5EF4-FFF2-40B4-BE49-F238E27FC236}">
                <a16:creationId xmlns:a16="http://schemas.microsoft.com/office/drawing/2014/main" id="{B461BFDC-B9C7-FEE9-7B24-4D5235AFB287}"/>
              </a:ext>
            </a:extLst>
          </p:cNvPr>
          <p:cNvSpPr/>
          <p:nvPr/>
        </p:nvSpPr>
        <p:spPr>
          <a:xfrm>
            <a:off x="6815324" y="4530605"/>
            <a:ext cx="6708" cy="17503"/>
          </a:xfrm>
          <a:custGeom>
            <a:avLst/>
            <a:gdLst>
              <a:gd name="connsiteX0" fmla="*/ 6709 w 6708"/>
              <a:gd name="connsiteY0" fmla="*/ 0 h 17503"/>
              <a:gd name="connsiteX1" fmla="*/ 0 w 6708"/>
              <a:gd name="connsiteY1" fmla="*/ 17504 h 17503"/>
              <a:gd name="connsiteX2" fmla="*/ 6709 w 6708"/>
              <a:gd name="connsiteY2" fmla="*/ 0 h 17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708" h="17503">
                <a:moveTo>
                  <a:pt x="6709" y="0"/>
                </a:moveTo>
                <a:cubicBezTo>
                  <a:pt x="4391" y="5794"/>
                  <a:pt x="2134" y="11649"/>
                  <a:pt x="0" y="17504"/>
                </a:cubicBezTo>
                <a:cubicBezTo>
                  <a:pt x="2134" y="11649"/>
                  <a:pt x="4391" y="5794"/>
                  <a:pt x="6709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8" name="Freeform: Shape 1507">
            <a:extLst>
              <a:ext uri="{FF2B5EF4-FFF2-40B4-BE49-F238E27FC236}">
                <a16:creationId xmlns:a16="http://schemas.microsoft.com/office/drawing/2014/main" id="{56A25415-D909-2279-A587-6D6B71F822A3}"/>
              </a:ext>
            </a:extLst>
          </p:cNvPr>
          <p:cNvSpPr/>
          <p:nvPr/>
        </p:nvSpPr>
        <p:spPr>
          <a:xfrm>
            <a:off x="6884912" y="4393136"/>
            <a:ext cx="14454" cy="20187"/>
          </a:xfrm>
          <a:custGeom>
            <a:avLst/>
            <a:gdLst>
              <a:gd name="connsiteX0" fmla="*/ 14454 w 14454"/>
              <a:gd name="connsiteY0" fmla="*/ 0 h 20187"/>
              <a:gd name="connsiteX1" fmla="*/ 0 w 14454"/>
              <a:gd name="connsiteY1" fmla="*/ 20187 h 20187"/>
              <a:gd name="connsiteX2" fmla="*/ 14454 w 14454"/>
              <a:gd name="connsiteY2" fmla="*/ 0 h 20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454" h="20187">
                <a:moveTo>
                  <a:pt x="14454" y="0"/>
                </a:moveTo>
                <a:cubicBezTo>
                  <a:pt x="9453" y="6648"/>
                  <a:pt x="4635" y="13357"/>
                  <a:pt x="0" y="20187"/>
                </a:cubicBezTo>
                <a:cubicBezTo>
                  <a:pt x="4696" y="13418"/>
                  <a:pt x="9514" y="6648"/>
                  <a:pt x="14454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9" name="Freeform: Shape 1508">
            <a:extLst>
              <a:ext uri="{FF2B5EF4-FFF2-40B4-BE49-F238E27FC236}">
                <a16:creationId xmlns:a16="http://schemas.microsoft.com/office/drawing/2014/main" id="{470C720A-D888-92BB-8DA2-F302B16A5891}"/>
              </a:ext>
            </a:extLst>
          </p:cNvPr>
          <p:cNvSpPr/>
          <p:nvPr/>
        </p:nvSpPr>
        <p:spPr>
          <a:xfrm>
            <a:off x="8411434" y="4670517"/>
            <a:ext cx="16528" cy="19089"/>
          </a:xfrm>
          <a:custGeom>
            <a:avLst/>
            <a:gdLst>
              <a:gd name="connsiteX0" fmla="*/ 16528 w 16528"/>
              <a:gd name="connsiteY0" fmla="*/ 0 h 19089"/>
              <a:gd name="connsiteX1" fmla="*/ 0 w 16528"/>
              <a:gd name="connsiteY1" fmla="*/ 19089 h 19089"/>
              <a:gd name="connsiteX2" fmla="*/ 16528 w 16528"/>
              <a:gd name="connsiteY2" fmla="*/ 0 h 19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528" h="19089">
                <a:moveTo>
                  <a:pt x="16528" y="0"/>
                </a:moveTo>
                <a:cubicBezTo>
                  <a:pt x="10856" y="6282"/>
                  <a:pt x="5306" y="12625"/>
                  <a:pt x="0" y="19089"/>
                </a:cubicBezTo>
                <a:cubicBezTo>
                  <a:pt x="5367" y="12625"/>
                  <a:pt x="10917" y="6282"/>
                  <a:pt x="16528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10" name="Freeform: Shape 1509">
            <a:extLst>
              <a:ext uri="{FF2B5EF4-FFF2-40B4-BE49-F238E27FC236}">
                <a16:creationId xmlns:a16="http://schemas.microsoft.com/office/drawing/2014/main" id="{41997F3B-A898-A32B-6DF9-4B9225A48199}"/>
              </a:ext>
            </a:extLst>
          </p:cNvPr>
          <p:cNvSpPr/>
          <p:nvPr/>
        </p:nvSpPr>
        <p:spPr>
          <a:xfrm>
            <a:off x="6870091" y="4415946"/>
            <a:ext cx="12990" cy="20004"/>
          </a:xfrm>
          <a:custGeom>
            <a:avLst/>
            <a:gdLst>
              <a:gd name="connsiteX0" fmla="*/ 12991 w 12990"/>
              <a:gd name="connsiteY0" fmla="*/ 0 h 20004"/>
              <a:gd name="connsiteX1" fmla="*/ 0 w 12990"/>
              <a:gd name="connsiteY1" fmla="*/ 20004 h 20004"/>
              <a:gd name="connsiteX2" fmla="*/ 12991 w 12990"/>
              <a:gd name="connsiteY2" fmla="*/ 0 h 20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990" h="20004">
                <a:moveTo>
                  <a:pt x="12991" y="0"/>
                </a:moveTo>
                <a:cubicBezTo>
                  <a:pt x="8477" y="6587"/>
                  <a:pt x="4147" y="13234"/>
                  <a:pt x="0" y="20004"/>
                </a:cubicBezTo>
                <a:cubicBezTo>
                  <a:pt x="4208" y="13295"/>
                  <a:pt x="8539" y="6587"/>
                  <a:pt x="12991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11" name="Freeform: Shape 1510">
            <a:extLst>
              <a:ext uri="{FF2B5EF4-FFF2-40B4-BE49-F238E27FC236}">
                <a16:creationId xmlns:a16="http://schemas.microsoft.com/office/drawing/2014/main" id="{ED9C3508-7F27-694B-191C-83991CB463F6}"/>
              </a:ext>
            </a:extLst>
          </p:cNvPr>
          <p:cNvSpPr/>
          <p:nvPr/>
        </p:nvSpPr>
        <p:spPr>
          <a:xfrm>
            <a:off x="6843196" y="4462907"/>
            <a:ext cx="10977" cy="20797"/>
          </a:xfrm>
          <a:custGeom>
            <a:avLst/>
            <a:gdLst>
              <a:gd name="connsiteX0" fmla="*/ 10978 w 10977"/>
              <a:gd name="connsiteY0" fmla="*/ 0 h 20797"/>
              <a:gd name="connsiteX1" fmla="*/ 0 w 10977"/>
              <a:gd name="connsiteY1" fmla="*/ 20797 h 20797"/>
              <a:gd name="connsiteX2" fmla="*/ 10978 w 10977"/>
              <a:gd name="connsiteY2" fmla="*/ 0 h 20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977" h="20797">
                <a:moveTo>
                  <a:pt x="10978" y="0"/>
                </a:moveTo>
                <a:cubicBezTo>
                  <a:pt x="7197" y="6892"/>
                  <a:pt x="3476" y="13783"/>
                  <a:pt x="0" y="20797"/>
                </a:cubicBezTo>
                <a:cubicBezTo>
                  <a:pt x="3537" y="13783"/>
                  <a:pt x="7197" y="6892"/>
                  <a:pt x="10978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12" name="Freeform: Shape 1511">
            <a:extLst>
              <a:ext uri="{FF2B5EF4-FFF2-40B4-BE49-F238E27FC236}">
                <a16:creationId xmlns:a16="http://schemas.microsoft.com/office/drawing/2014/main" id="{D7BD8156-31C4-ACF6-6608-FD39D838A447}"/>
              </a:ext>
            </a:extLst>
          </p:cNvPr>
          <p:cNvSpPr/>
          <p:nvPr/>
        </p:nvSpPr>
        <p:spPr>
          <a:xfrm>
            <a:off x="6856064" y="4439244"/>
            <a:ext cx="11892" cy="20187"/>
          </a:xfrm>
          <a:custGeom>
            <a:avLst/>
            <a:gdLst>
              <a:gd name="connsiteX0" fmla="*/ 11893 w 11892"/>
              <a:gd name="connsiteY0" fmla="*/ 0 h 20187"/>
              <a:gd name="connsiteX1" fmla="*/ 0 w 11892"/>
              <a:gd name="connsiteY1" fmla="*/ 20187 h 20187"/>
              <a:gd name="connsiteX2" fmla="*/ 11893 w 11892"/>
              <a:gd name="connsiteY2" fmla="*/ 0 h 20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892" h="20187">
                <a:moveTo>
                  <a:pt x="11893" y="0"/>
                </a:moveTo>
                <a:cubicBezTo>
                  <a:pt x="7806" y="6648"/>
                  <a:pt x="3842" y="13417"/>
                  <a:pt x="0" y="20187"/>
                </a:cubicBezTo>
                <a:cubicBezTo>
                  <a:pt x="3842" y="13417"/>
                  <a:pt x="7806" y="6648"/>
                  <a:pt x="11893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13" name="Freeform: Shape 1512">
            <a:extLst>
              <a:ext uri="{FF2B5EF4-FFF2-40B4-BE49-F238E27FC236}">
                <a16:creationId xmlns:a16="http://schemas.microsoft.com/office/drawing/2014/main" id="{CC3110C2-E2B5-791C-A377-CA966C76EF72}"/>
              </a:ext>
            </a:extLst>
          </p:cNvPr>
          <p:cNvSpPr/>
          <p:nvPr/>
        </p:nvSpPr>
        <p:spPr>
          <a:xfrm>
            <a:off x="8394845" y="4690765"/>
            <a:ext cx="15674" cy="19882"/>
          </a:xfrm>
          <a:custGeom>
            <a:avLst/>
            <a:gdLst>
              <a:gd name="connsiteX0" fmla="*/ 15674 w 15674"/>
              <a:gd name="connsiteY0" fmla="*/ 0 h 19882"/>
              <a:gd name="connsiteX1" fmla="*/ 0 w 15674"/>
              <a:gd name="connsiteY1" fmla="*/ 19882 h 19882"/>
              <a:gd name="connsiteX2" fmla="*/ 15674 w 15674"/>
              <a:gd name="connsiteY2" fmla="*/ 0 h 1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674" h="19882">
                <a:moveTo>
                  <a:pt x="15674" y="0"/>
                </a:moveTo>
                <a:cubicBezTo>
                  <a:pt x="10307" y="6526"/>
                  <a:pt x="5062" y="13173"/>
                  <a:pt x="0" y="19882"/>
                </a:cubicBezTo>
                <a:cubicBezTo>
                  <a:pt x="5062" y="13173"/>
                  <a:pt x="10307" y="6526"/>
                  <a:pt x="15674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15" name="Freeform: Shape 1514">
            <a:extLst>
              <a:ext uri="{FF2B5EF4-FFF2-40B4-BE49-F238E27FC236}">
                <a16:creationId xmlns:a16="http://schemas.microsoft.com/office/drawing/2014/main" id="{59CA6E88-9AA2-DC39-9ECC-81CDAA5157EA}"/>
              </a:ext>
            </a:extLst>
          </p:cNvPr>
          <p:cNvSpPr/>
          <p:nvPr/>
        </p:nvSpPr>
        <p:spPr>
          <a:xfrm>
            <a:off x="6831364" y="4486693"/>
            <a:ext cx="10307" cy="21772"/>
          </a:xfrm>
          <a:custGeom>
            <a:avLst/>
            <a:gdLst>
              <a:gd name="connsiteX0" fmla="*/ 10307 w 10307"/>
              <a:gd name="connsiteY0" fmla="*/ 0 h 21772"/>
              <a:gd name="connsiteX1" fmla="*/ 0 w 10307"/>
              <a:gd name="connsiteY1" fmla="*/ 21773 h 21772"/>
              <a:gd name="connsiteX2" fmla="*/ 10307 w 10307"/>
              <a:gd name="connsiteY2" fmla="*/ 0 h 2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07" h="21772">
                <a:moveTo>
                  <a:pt x="10307" y="0"/>
                </a:moveTo>
                <a:cubicBezTo>
                  <a:pt x="6709" y="7197"/>
                  <a:pt x="3293" y="14454"/>
                  <a:pt x="0" y="21773"/>
                </a:cubicBezTo>
                <a:cubicBezTo>
                  <a:pt x="3293" y="14454"/>
                  <a:pt x="6709" y="7197"/>
                  <a:pt x="10307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16" name="Freeform: Shape 1515">
            <a:extLst>
              <a:ext uri="{FF2B5EF4-FFF2-40B4-BE49-F238E27FC236}">
                <a16:creationId xmlns:a16="http://schemas.microsoft.com/office/drawing/2014/main" id="{A146A549-5D29-AEF3-BDAA-3724D139C1D1}"/>
              </a:ext>
            </a:extLst>
          </p:cNvPr>
          <p:cNvSpPr/>
          <p:nvPr/>
        </p:nvSpPr>
        <p:spPr>
          <a:xfrm>
            <a:off x="6823862" y="4510966"/>
            <a:ext cx="6403" cy="15064"/>
          </a:xfrm>
          <a:custGeom>
            <a:avLst/>
            <a:gdLst>
              <a:gd name="connsiteX0" fmla="*/ 6404 w 6403"/>
              <a:gd name="connsiteY0" fmla="*/ 0 h 15064"/>
              <a:gd name="connsiteX1" fmla="*/ 0 w 6403"/>
              <a:gd name="connsiteY1" fmla="*/ 15064 h 15064"/>
              <a:gd name="connsiteX2" fmla="*/ 6404 w 6403"/>
              <a:gd name="connsiteY2" fmla="*/ 0 h 15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03" h="15064">
                <a:moveTo>
                  <a:pt x="6404" y="0"/>
                </a:moveTo>
                <a:cubicBezTo>
                  <a:pt x="4208" y="5001"/>
                  <a:pt x="2074" y="10002"/>
                  <a:pt x="0" y="15064"/>
                </a:cubicBezTo>
                <a:cubicBezTo>
                  <a:pt x="2074" y="10002"/>
                  <a:pt x="4208" y="5001"/>
                  <a:pt x="6404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17" name="Freeform: Shape 1516">
            <a:extLst>
              <a:ext uri="{FF2B5EF4-FFF2-40B4-BE49-F238E27FC236}">
                <a16:creationId xmlns:a16="http://schemas.microsoft.com/office/drawing/2014/main" id="{1CA1261E-29BB-B159-D96E-546C90339394}"/>
              </a:ext>
            </a:extLst>
          </p:cNvPr>
          <p:cNvSpPr/>
          <p:nvPr/>
        </p:nvSpPr>
        <p:spPr>
          <a:xfrm>
            <a:off x="6785195" y="4652582"/>
            <a:ext cx="2439" cy="15491"/>
          </a:xfrm>
          <a:custGeom>
            <a:avLst/>
            <a:gdLst>
              <a:gd name="connsiteX0" fmla="*/ 2439 w 2439"/>
              <a:gd name="connsiteY0" fmla="*/ 0 h 15491"/>
              <a:gd name="connsiteX1" fmla="*/ 0 w 2439"/>
              <a:gd name="connsiteY1" fmla="*/ 15491 h 15491"/>
              <a:gd name="connsiteX2" fmla="*/ 2439 w 2439"/>
              <a:gd name="connsiteY2" fmla="*/ 0 h 15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9" h="15491">
                <a:moveTo>
                  <a:pt x="2439" y="0"/>
                </a:moveTo>
                <a:cubicBezTo>
                  <a:pt x="1586" y="5184"/>
                  <a:pt x="732" y="10307"/>
                  <a:pt x="0" y="15491"/>
                </a:cubicBezTo>
                <a:cubicBezTo>
                  <a:pt x="732" y="10307"/>
                  <a:pt x="1586" y="5123"/>
                  <a:pt x="2439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18" name="Freeform: Shape 1517">
            <a:extLst>
              <a:ext uri="{FF2B5EF4-FFF2-40B4-BE49-F238E27FC236}">
                <a16:creationId xmlns:a16="http://schemas.microsoft.com/office/drawing/2014/main" id="{5B59B968-5C0F-5CDC-E818-596CE268E384}"/>
              </a:ext>
            </a:extLst>
          </p:cNvPr>
          <p:cNvSpPr/>
          <p:nvPr/>
        </p:nvSpPr>
        <p:spPr>
          <a:xfrm>
            <a:off x="6780743" y="4797674"/>
            <a:ext cx="1646" cy="18357"/>
          </a:xfrm>
          <a:custGeom>
            <a:avLst/>
            <a:gdLst>
              <a:gd name="connsiteX0" fmla="*/ 0 w 1646"/>
              <a:gd name="connsiteY0" fmla="*/ 0 h 18357"/>
              <a:gd name="connsiteX1" fmla="*/ 1647 w 1646"/>
              <a:gd name="connsiteY1" fmla="*/ 18358 h 18357"/>
              <a:gd name="connsiteX2" fmla="*/ 0 w 1646"/>
              <a:gd name="connsiteY2" fmla="*/ 0 h 18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46" h="18357">
                <a:moveTo>
                  <a:pt x="0" y="0"/>
                </a:moveTo>
                <a:cubicBezTo>
                  <a:pt x="427" y="6160"/>
                  <a:pt x="976" y="12259"/>
                  <a:pt x="1647" y="18358"/>
                </a:cubicBezTo>
                <a:cubicBezTo>
                  <a:pt x="976" y="12259"/>
                  <a:pt x="488" y="6099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19" name="Freeform: Shape 1518">
            <a:extLst>
              <a:ext uri="{FF2B5EF4-FFF2-40B4-BE49-F238E27FC236}">
                <a16:creationId xmlns:a16="http://schemas.microsoft.com/office/drawing/2014/main" id="{B4112AB0-4E38-B9B2-F961-EF18FEB11C66}"/>
              </a:ext>
            </a:extLst>
          </p:cNvPr>
          <p:cNvSpPr/>
          <p:nvPr/>
        </p:nvSpPr>
        <p:spPr>
          <a:xfrm>
            <a:off x="6782634" y="4818410"/>
            <a:ext cx="2012" cy="16344"/>
          </a:xfrm>
          <a:custGeom>
            <a:avLst/>
            <a:gdLst>
              <a:gd name="connsiteX0" fmla="*/ 0 w 2012"/>
              <a:gd name="connsiteY0" fmla="*/ 0 h 16344"/>
              <a:gd name="connsiteX1" fmla="*/ 2013 w 2012"/>
              <a:gd name="connsiteY1" fmla="*/ 16345 h 16344"/>
              <a:gd name="connsiteX2" fmla="*/ 0 w 2012"/>
              <a:gd name="connsiteY2" fmla="*/ 0 h 16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12" h="16344">
                <a:moveTo>
                  <a:pt x="0" y="0"/>
                </a:moveTo>
                <a:cubicBezTo>
                  <a:pt x="610" y="5428"/>
                  <a:pt x="1281" y="10917"/>
                  <a:pt x="2013" y="16345"/>
                </a:cubicBezTo>
                <a:cubicBezTo>
                  <a:pt x="1281" y="10917"/>
                  <a:pt x="549" y="5489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0" name="Freeform: Shape 1519">
            <a:extLst>
              <a:ext uri="{FF2B5EF4-FFF2-40B4-BE49-F238E27FC236}">
                <a16:creationId xmlns:a16="http://schemas.microsoft.com/office/drawing/2014/main" id="{3F8311B9-7DAD-2F98-5D10-CADAAC68A6E8}"/>
              </a:ext>
            </a:extLst>
          </p:cNvPr>
          <p:cNvSpPr/>
          <p:nvPr/>
        </p:nvSpPr>
        <p:spPr>
          <a:xfrm>
            <a:off x="6802394" y="4570613"/>
            <a:ext cx="5244" cy="17198"/>
          </a:xfrm>
          <a:custGeom>
            <a:avLst/>
            <a:gdLst>
              <a:gd name="connsiteX0" fmla="*/ 5245 w 5244"/>
              <a:gd name="connsiteY0" fmla="*/ 0 h 17198"/>
              <a:gd name="connsiteX1" fmla="*/ 0 w 5244"/>
              <a:gd name="connsiteY1" fmla="*/ 17199 h 17198"/>
              <a:gd name="connsiteX2" fmla="*/ 5245 w 5244"/>
              <a:gd name="connsiteY2" fmla="*/ 0 h 17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44" h="17198">
                <a:moveTo>
                  <a:pt x="5245" y="0"/>
                </a:moveTo>
                <a:cubicBezTo>
                  <a:pt x="3415" y="5733"/>
                  <a:pt x="1646" y="11466"/>
                  <a:pt x="0" y="17199"/>
                </a:cubicBezTo>
                <a:cubicBezTo>
                  <a:pt x="1646" y="11405"/>
                  <a:pt x="3415" y="5672"/>
                  <a:pt x="5245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1" name="Freeform: Shape 1520">
            <a:extLst>
              <a:ext uri="{FF2B5EF4-FFF2-40B4-BE49-F238E27FC236}">
                <a16:creationId xmlns:a16="http://schemas.microsoft.com/office/drawing/2014/main" id="{D5BC78F7-6992-FC81-E0D5-9A3475B557B9}"/>
              </a:ext>
            </a:extLst>
          </p:cNvPr>
          <p:cNvSpPr/>
          <p:nvPr/>
        </p:nvSpPr>
        <p:spPr>
          <a:xfrm>
            <a:off x="6785378" y="4839512"/>
            <a:ext cx="1463" cy="9453"/>
          </a:xfrm>
          <a:custGeom>
            <a:avLst/>
            <a:gdLst>
              <a:gd name="connsiteX0" fmla="*/ 1464 w 1463"/>
              <a:gd name="connsiteY0" fmla="*/ 9453 h 9453"/>
              <a:gd name="connsiteX1" fmla="*/ 1464 w 1463"/>
              <a:gd name="connsiteY1" fmla="*/ 9270 h 9453"/>
              <a:gd name="connsiteX2" fmla="*/ 0 w 1463"/>
              <a:gd name="connsiteY2" fmla="*/ 0 h 9453"/>
              <a:gd name="connsiteX3" fmla="*/ 1464 w 1463"/>
              <a:gd name="connsiteY3" fmla="*/ 9453 h 9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63" h="9453">
                <a:moveTo>
                  <a:pt x="1464" y="9453"/>
                </a:moveTo>
                <a:cubicBezTo>
                  <a:pt x="1464" y="9453"/>
                  <a:pt x="1464" y="9331"/>
                  <a:pt x="1464" y="9270"/>
                </a:cubicBezTo>
                <a:cubicBezTo>
                  <a:pt x="976" y="6160"/>
                  <a:pt x="427" y="3110"/>
                  <a:pt x="0" y="0"/>
                </a:cubicBezTo>
                <a:cubicBezTo>
                  <a:pt x="488" y="3172"/>
                  <a:pt x="976" y="6282"/>
                  <a:pt x="1464" y="9453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2" name="Freeform: Shape 1521">
            <a:extLst>
              <a:ext uri="{FF2B5EF4-FFF2-40B4-BE49-F238E27FC236}">
                <a16:creationId xmlns:a16="http://schemas.microsoft.com/office/drawing/2014/main" id="{95ED0802-A2D8-0D28-8F15-33CD891ECA54}"/>
              </a:ext>
            </a:extLst>
          </p:cNvPr>
          <p:cNvSpPr/>
          <p:nvPr/>
        </p:nvSpPr>
        <p:spPr>
          <a:xfrm>
            <a:off x="6779036" y="4755591"/>
            <a:ext cx="365" cy="18357"/>
          </a:xfrm>
          <a:custGeom>
            <a:avLst/>
            <a:gdLst>
              <a:gd name="connsiteX0" fmla="*/ 366 w 365"/>
              <a:gd name="connsiteY0" fmla="*/ 18357 h 18357"/>
              <a:gd name="connsiteX1" fmla="*/ 0 w 365"/>
              <a:gd name="connsiteY1" fmla="*/ 0 h 18357"/>
              <a:gd name="connsiteX2" fmla="*/ 366 w 365"/>
              <a:gd name="connsiteY2" fmla="*/ 18357 h 18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5" h="18357">
                <a:moveTo>
                  <a:pt x="366" y="18357"/>
                </a:moveTo>
                <a:cubicBezTo>
                  <a:pt x="183" y="12259"/>
                  <a:pt x="61" y="6099"/>
                  <a:pt x="0" y="0"/>
                </a:cubicBezTo>
                <a:cubicBezTo>
                  <a:pt x="0" y="6099"/>
                  <a:pt x="122" y="12259"/>
                  <a:pt x="366" y="18357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3" name="Freeform: Shape 1522">
            <a:extLst>
              <a:ext uri="{FF2B5EF4-FFF2-40B4-BE49-F238E27FC236}">
                <a16:creationId xmlns:a16="http://schemas.microsoft.com/office/drawing/2014/main" id="{4A391124-F681-2FFB-0831-0BC536153DB0}"/>
              </a:ext>
            </a:extLst>
          </p:cNvPr>
          <p:cNvSpPr/>
          <p:nvPr/>
        </p:nvSpPr>
        <p:spPr>
          <a:xfrm>
            <a:off x="6779097" y="4735770"/>
            <a:ext cx="243" cy="15369"/>
          </a:xfrm>
          <a:custGeom>
            <a:avLst/>
            <a:gdLst>
              <a:gd name="connsiteX0" fmla="*/ 244 w 243"/>
              <a:gd name="connsiteY0" fmla="*/ 0 h 15369"/>
              <a:gd name="connsiteX1" fmla="*/ 0 w 243"/>
              <a:gd name="connsiteY1" fmla="*/ 15369 h 15369"/>
              <a:gd name="connsiteX2" fmla="*/ 244 w 243"/>
              <a:gd name="connsiteY2" fmla="*/ 0 h 15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" h="15369">
                <a:moveTo>
                  <a:pt x="244" y="0"/>
                </a:moveTo>
                <a:cubicBezTo>
                  <a:pt x="122" y="5123"/>
                  <a:pt x="0" y="10246"/>
                  <a:pt x="0" y="15369"/>
                </a:cubicBezTo>
                <a:cubicBezTo>
                  <a:pt x="0" y="10246"/>
                  <a:pt x="122" y="5123"/>
                  <a:pt x="244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4" name="Freeform: Shape 1523">
            <a:extLst>
              <a:ext uri="{FF2B5EF4-FFF2-40B4-BE49-F238E27FC236}">
                <a16:creationId xmlns:a16="http://schemas.microsoft.com/office/drawing/2014/main" id="{4FA489B6-3883-8573-F547-B0E1722B9DF1}"/>
              </a:ext>
            </a:extLst>
          </p:cNvPr>
          <p:cNvSpPr/>
          <p:nvPr/>
        </p:nvSpPr>
        <p:spPr>
          <a:xfrm>
            <a:off x="6935654" y="4332392"/>
            <a:ext cx="16101" cy="16954"/>
          </a:xfrm>
          <a:custGeom>
            <a:avLst/>
            <a:gdLst>
              <a:gd name="connsiteX0" fmla="*/ 0 w 16101"/>
              <a:gd name="connsiteY0" fmla="*/ 16955 h 16954"/>
              <a:gd name="connsiteX1" fmla="*/ 16101 w 16101"/>
              <a:gd name="connsiteY1" fmla="*/ 0 h 16954"/>
              <a:gd name="connsiteX2" fmla="*/ 13845 w 16101"/>
              <a:gd name="connsiteY2" fmla="*/ 2257 h 16954"/>
              <a:gd name="connsiteX3" fmla="*/ 0 w 16101"/>
              <a:gd name="connsiteY3" fmla="*/ 16955 h 16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01" h="16954">
                <a:moveTo>
                  <a:pt x="0" y="16955"/>
                </a:moveTo>
                <a:cubicBezTo>
                  <a:pt x="5245" y="11222"/>
                  <a:pt x="10612" y="5550"/>
                  <a:pt x="16101" y="0"/>
                </a:cubicBezTo>
                <a:cubicBezTo>
                  <a:pt x="15369" y="732"/>
                  <a:pt x="14576" y="1525"/>
                  <a:pt x="13845" y="2257"/>
                </a:cubicBezTo>
                <a:cubicBezTo>
                  <a:pt x="9148" y="7075"/>
                  <a:pt x="4513" y="12015"/>
                  <a:pt x="0" y="16955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5" name="Freeform: Shape 1524">
            <a:extLst>
              <a:ext uri="{FF2B5EF4-FFF2-40B4-BE49-F238E27FC236}">
                <a16:creationId xmlns:a16="http://schemas.microsoft.com/office/drawing/2014/main" id="{EC515D22-66B0-6777-C6FB-4A623FB609B1}"/>
              </a:ext>
            </a:extLst>
          </p:cNvPr>
          <p:cNvSpPr/>
          <p:nvPr/>
        </p:nvSpPr>
        <p:spPr>
          <a:xfrm>
            <a:off x="6779584" y="4777303"/>
            <a:ext cx="853" cy="15674"/>
          </a:xfrm>
          <a:custGeom>
            <a:avLst/>
            <a:gdLst>
              <a:gd name="connsiteX0" fmla="*/ 0 w 853"/>
              <a:gd name="connsiteY0" fmla="*/ 0 h 15674"/>
              <a:gd name="connsiteX1" fmla="*/ 854 w 853"/>
              <a:gd name="connsiteY1" fmla="*/ 15674 h 15674"/>
              <a:gd name="connsiteX2" fmla="*/ 0 w 853"/>
              <a:gd name="connsiteY2" fmla="*/ 0 h 15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3" h="15674">
                <a:moveTo>
                  <a:pt x="0" y="0"/>
                </a:moveTo>
                <a:cubicBezTo>
                  <a:pt x="183" y="5245"/>
                  <a:pt x="488" y="10429"/>
                  <a:pt x="854" y="15674"/>
                </a:cubicBezTo>
                <a:cubicBezTo>
                  <a:pt x="488" y="10490"/>
                  <a:pt x="244" y="5245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6" name="Freeform: Shape 1525">
            <a:extLst>
              <a:ext uri="{FF2B5EF4-FFF2-40B4-BE49-F238E27FC236}">
                <a16:creationId xmlns:a16="http://schemas.microsoft.com/office/drawing/2014/main" id="{6289ADCD-D69E-159D-0FE0-666CD7AB3901}"/>
              </a:ext>
            </a:extLst>
          </p:cNvPr>
          <p:cNvSpPr/>
          <p:nvPr/>
        </p:nvSpPr>
        <p:spPr>
          <a:xfrm>
            <a:off x="6788428" y="4629772"/>
            <a:ext cx="3537" cy="18174"/>
          </a:xfrm>
          <a:custGeom>
            <a:avLst/>
            <a:gdLst>
              <a:gd name="connsiteX0" fmla="*/ 3537 w 3537"/>
              <a:gd name="connsiteY0" fmla="*/ 0 h 18174"/>
              <a:gd name="connsiteX1" fmla="*/ 0 w 3537"/>
              <a:gd name="connsiteY1" fmla="*/ 18175 h 18174"/>
              <a:gd name="connsiteX2" fmla="*/ 3537 w 3537"/>
              <a:gd name="connsiteY2" fmla="*/ 0 h 18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37" h="18174">
                <a:moveTo>
                  <a:pt x="3537" y="0"/>
                </a:moveTo>
                <a:cubicBezTo>
                  <a:pt x="2257" y="6038"/>
                  <a:pt x="1098" y="12076"/>
                  <a:pt x="0" y="18175"/>
                </a:cubicBezTo>
                <a:cubicBezTo>
                  <a:pt x="1098" y="12137"/>
                  <a:pt x="2257" y="6038"/>
                  <a:pt x="3537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7" name="Freeform: Shape 1526">
            <a:extLst>
              <a:ext uri="{FF2B5EF4-FFF2-40B4-BE49-F238E27FC236}">
                <a16:creationId xmlns:a16="http://schemas.microsoft.com/office/drawing/2014/main" id="{7D4E182B-F8B9-0C3D-ADDA-7C3494A9FEB6}"/>
              </a:ext>
            </a:extLst>
          </p:cNvPr>
          <p:cNvSpPr/>
          <p:nvPr/>
        </p:nvSpPr>
        <p:spPr>
          <a:xfrm>
            <a:off x="6797332" y="4588605"/>
            <a:ext cx="4817" cy="18052"/>
          </a:xfrm>
          <a:custGeom>
            <a:avLst/>
            <a:gdLst>
              <a:gd name="connsiteX0" fmla="*/ 4818 w 4817"/>
              <a:gd name="connsiteY0" fmla="*/ 0 h 18052"/>
              <a:gd name="connsiteX1" fmla="*/ 0 w 4817"/>
              <a:gd name="connsiteY1" fmla="*/ 18053 h 18052"/>
              <a:gd name="connsiteX2" fmla="*/ 4818 w 4817"/>
              <a:gd name="connsiteY2" fmla="*/ 0 h 18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17" h="18052">
                <a:moveTo>
                  <a:pt x="4818" y="0"/>
                </a:moveTo>
                <a:cubicBezTo>
                  <a:pt x="3110" y="5977"/>
                  <a:pt x="1525" y="12015"/>
                  <a:pt x="0" y="18053"/>
                </a:cubicBezTo>
                <a:cubicBezTo>
                  <a:pt x="1525" y="12015"/>
                  <a:pt x="3110" y="5977"/>
                  <a:pt x="4818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8" name="Freeform: Shape 1527">
            <a:extLst>
              <a:ext uri="{FF2B5EF4-FFF2-40B4-BE49-F238E27FC236}">
                <a16:creationId xmlns:a16="http://schemas.microsoft.com/office/drawing/2014/main" id="{12867552-DD4C-75CB-963E-0D35E12AB9C5}"/>
              </a:ext>
            </a:extLst>
          </p:cNvPr>
          <p:cNvSpPr/>
          <p:nvPr/>
        </p:nvSpPr>
        <p:spPr>
          <a:xfrm>
            <a:off x="6779401" y="4713448"/>
            <a:ext cx="975" cy="18357"/>
          </a:xfrm>
          <a:custGeom>
            <a:avLst/>
            <a:gdLst>
              <a:gd name="connsiteX0" fmla="*/ 976 w 975"/>
              <a:gd name="connsiteY0" fmla="*/ 0 h 18357"/>
              <a:gd name="connsiteX1" fmla="*/ 0 w 975"/>
              <a:gd name="connsiteY1" fmla="*/ 18358 h 18357"/>
              <a:gd name="connsiteX2" fmla="*/ 976 w 975"/>
              <a:gd name="connsiteY2" fmla="*/ 0 h 18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5" h="18357">
                <a:moveTo>
                  <a:pt x="976" y="0"/>
                </a:moveTo>
                <a:cubicBezTo>
                  <a:pt x="549" y="6099"/>
                  <a:pt x="244" y="12198"/>
                  <a:pt x="0" y="18358"/>
                </a:cubicBezTo>
                <a:cubicBezTo>
                  <a:pt x="244" y="12259"/>
                  <a:pt x="549" y="6099"/>
                  <a:pt x="976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9" name="Freeform: Shape 1528">
            <a:extLst>
              <a:ext uri="{FF2B5EF4-FFF2-40B4-BE49-F238E27FC236}">
                <a16:creationId xmlns:a16="http://schemas.microsoft.com/office/drawing/2014/main" id="{D8E169F8-DD7E-FFC2-FB46-EF4B553F12CD}"/>
              </a:ext>
            </a:extLst>
          </p:cNvPr>
          <p:cNvSpPr/>
          <p:nvPr/>
        </p:nvSpPr>
        <p:spPr>
          <a:xfrm>
            <a:off x="6792453" y="4611354"/>
            <a:ext cx="3720" cy="16100"/>
          </a:xfrm>
          <a:custGeom>
            <a:avLst/>
            <a:gdLst>
              <a:gd name="connsiteX0" fmla="*/ 3720 w 3720"/>
              <a:gd name="connsiteY0" fmla="*/ 0 h 16100"/>
              <a:gd name="connsiteX1" fmla="*/ 0 w 3720"/>
              <a:gd name="connsiteY1" fmla="*/ 16101 h 16100"/>
              <a:gd name="connsiteX2" fmla="*/ 3720 w 3720"/>
              <a:gd name="connsiteY2" fmla="*/ 0 h 1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20" h="16100">
                <a:moveTo>
                  <a:pt x="3720" y="0"/>
                </a:moveTo>
                <a:cubicBezTo>
                  <a:pt x="2439" y="5367"/>
                  <a:pt x="1159" y="10734"/>
                  <a:pt x="0" y="16101"/>
                </a:cubicBezTo>
                <a:cubicBezTo>
                  <a:pt x="1159" y="10734"/>
                  <a:pt x="2378" y="5367"/>
                  <a:pt x="372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30" name="Freeform: Shape 1529">
            <a:extLst>
              <a:ext uri="{FF2B5EF4-FFF2-40B4-BE49-F238E27FC236}">
                <a16:creationId xmlns:a16="http://schemas.microsoft.com/office/drawing/2014/main" id="{804479DD-BEEE-E933-4BF9-8B13B79BCE23}"/>
              </a:ext>
            </a:extLst>
          </p:cNvPr>
          <p:cNvSpPr/>
          <p:nvPr/>
        </p:nvSpPr>
        <p:spPr>
          <a:xfrm>
            <a:off x="6780682" y="4694115"/>
            <a:ext cx="1341" cy="15308"/>
          </a:xfrm>
          <a:custGeom>
            <a:avLst/>
            <a:gdLst>
              <a:gd name="connsiteX0" fmla="*/ 1342 w 1341"/>
              <a:gd name="connsiteY0" fmla="*/ 0 h 15308"/>
              <a:gd name="connsiteX1" fmla="*/ 0 w 1341"/>
              <a:gd name="connsiteY1" fmla="*/ 15308 h 15308"/>
              <a:gd name="connsiteX2" fmla="*/ 1342 w 1341"/>
              <a:gd name="connsiteY2" fmla="*/ 0 h 15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41" h="15308">
                <a:moveTo>
                  <a:pt x="1342" y="0"/>
                </a:moveTo>
                <a:cubicBezTo>
                  <a:pt x="854" y="5123"/>
                  <a:pt x="366" y="10246"/>
                  <a:pt x="0" y="15308"/>
                </a:cubicBezTo>
                <a:cubicBezTo>
                  <a:pt x="366" y="10185"/>
                  <a:pt x="793" y="5062"/>
                  <a:pt x="1342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31" name="Freeform: Shape 1530">
            <a:extLst>
              <a:ext uri="{FF2B5EF4-FFF2-40B4-BE49-F238E27FC236}">
                <a16:creationId xmlns:a16="http://schemas.microsoft.com/office/drawing/2014/main" id="{79013994-7E9D-8C15-3754-E9EABA8B2D9A}"/>
              </a:ext>
            </a:extLst>
          </p:cNvPr>
          <p:cNvSpPr/>
          <p:nvPr/>
        </p:nvSpPr>
        <p:spPr>
          <a:xfrm>
            <a:off x="6782451" y="4671427"/>
            <a:ext cx="2256" cy="18296"/>
          </a:xfrm>
          <a:custGeom>
            <a:avLst/>
            <a:gdLst>
              <a:gd name="connsiteX0" fmla="*/ 2257 w 2256"/>
              <a:gd name="connsiteY0" fmla="*/ 0 h 18296"/>
              <a:gd name="connsiteX1" fmla="*/ 0 w 2256"/>
              <a:gd name="connsiteY1" fmla="*/ 18297 h 18296"/>
              <a:gd name="connsiteX2" fmla="*/ 2257 w 2256"/>
              <a:gd name="connsiteY2" fmla="*/ 0 h 18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56" h="18296">
                <a:moveTo>
                  <a:pt x="2257" y="0"/>
                </a:moveTo>
                <a:cubicBezTo>
                  <a:pt x="1403" y="6099"/>
                  <a:pt x="671" y="12198"/>
                  <a:pt x="0" y="18297"/>
                </a:cubicBezTo>
                <a:cubicBezTo>
                  <a:pt x="671" y="12198"/>
                  <a:pt x="1403" y="6099"/>
                  <a:pt x="2257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41" name="Freeform: Shape 1540">
            <a:extLst>
              <a:ext uri="{FF2B5EF4-FFF2-40B4-BE49-F238E27FC236}">
                <a16:creationId xmlns:a16="http://schemas.microsoft.com/office/drawing/2014/main" id="{B58AD43B-0811-9C4A-8199-08886A425AB4}"/>
              </a:ext>
            </a:extLst>
          </p:cNvPr>
          <p:cNvSpPr/>
          <p:nvPr/>
        </p:nvSpPr>
        <p:spPr>
          <a:xfrm>
            <a:off x="6966148" y="4304520"/>
            <a:ext cx="14759" cy="13661"/>
          </a:xfrm>
          <a:custGeom>
            <a:avLst/>
            <a:gdLst>
              <a:gd name="connsiteX0" fmla="*/ 14759 w 14759"/>
              <a:gd name="connsiteY0" fmla="*/ 0 h 13661"/>
              <a:gd name="connsiteX1" fmla="*/ 0 w 14759"/>
              <a:gd name="connsiteY1" fmla="*/ 13662 h 13661"/>
              <a:gd name="connsiteX2" fmla="*/ 14759 w 14759"/>
              <a:gd name="connsiteY2" fmla="*/ 0 h 13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59" h="13661">
                <a:moveTo>
                  <a:pt x="14759" y="0"/>
                </a:moveTo>
                <a:cubicBezTo>
                  <a:pt x="9697" y="4513"/>
                  <a:pt x="4818" y="9087"/>
                  <a:pt x="0" y="13662"/>
                </a:cubicBezTo>
                <a:cubicBezTo>
                  <a:pt x="4818" y="9026"/>
                  <a:pt x="9758" y="4452"/>
                  <a:pt x="14759" y="0"/>
                </a:cubicBezTo>
                <a:close/>
              </a:path>
            </a:pathLst>
          </a:custGeom>
          <a:solidFill>
            <a:srgbClr val="3B6A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42" name="Freeform: Shape 1541">
            <a:extLst>
              <a:ext uri="{FF2B5EF4-FFF2-40B4-BE49-F238E27FC236}">
                <a16:creationId xmlns:a16="http://schemas.microsoft.com/office/drawing/2014/main" id="{C0864FD0-B83B-8909-3254-A6EB1E4A2D5A}"/>
              </a:ext>
            </a:extLst>
          </p:cNvPr>
          <p:cNvSpPr/>
          <p:nvPr/>
        </p:nvSpPr>
        <p:spPr>
          <a:xfrm>
            <a:off x="6951816" y="4321780"/>
            <a:ext cx="10550" cy="10551"/>
          </a:xfrm>
          <a:custGeom>
            <a:avLst/>
            <a:gdLst>
              <a:gd name="connsiteX0" fmla="*/ 793 w 10550"/>
              <a:gd name="connsiteY0" fmla="*/ 9697 h 10551"/>
              <a:gd name="connsiteX1" fmla="*/ 0 w 10550"/>
              <a:gd name="connsiteY1" fmla="*/ 10551 h 10551"/>
              <a:gd name="connsiteX2" fmla="*/ 10551 w 10550"/>
              <a:gd name="connsiteY2" fmla="*/ 0 h 10551"/>
              <a:gd name="connsiteX3" fmla="*/ 793 w 10550"/>
              <a:gd name="connsiteY3" fmla="*/ 9636 h 1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550" h="10551">
                <a:moveTo>
                  <a:pt x="793" y="9697"/>
                </a:moveTo>
                <a:cubicBezTo>
                  <a:pt x="793" y="9697"/>
                  <a:pt x="244" y="10246"/>
                  <a:pt x="0" y="10551"/>
                </a:cubicBezTo>
                <a:cubicBezTo>
                  <a:pt x="3476" y="7014"/>
                  <a:pt x="7013" y="3476"/>
                  <a:pt x="10551" y="0"/>
                </a:cubicBezTo>
                <a:cubicBezTo>
                  <a:pt x="7258" y="3171"/>
                  <a:pt x="4025" y="6404"/>
                  <a:pt x="793" y="9636"/>
                </a:cubicBezTo>
                <a:close/>
              </a:path>
            </a:pathLst>
          </a:custGeom>
          <a:solidFill>
            <a:srgbClr val="3B6A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43" name="Freeform: Shape 1542">
            <a:extLst>
              <a:ext uri="{FF2B5EF4-FFF2-40B4-BE49-F238E27FC236}">
                <a16:creationId xmlns:a16="http://schemas.microsoft.com/office/drawing/2014/main" id="{6FEC10D3-A5FD-A2A0-1CEE-1B0ACCE3647F}"/>
              </a:ext>
            </a:extLst>
          </p:cNvPr>
          <p:cNvSpPr/>
          <p:nvPr/>
        </p:nvSpPr>
        <p:spPr>
          <a:xfrm>
            <a:off x="6949438" y="4331477"/>
            <a:ext cx="3110" cy="3110"/>
          </a:xfrm>
          <a:custGeom>
            <a:avLst/>
            <a:gdLst>
              <a:gd name="connsiteX0" fmla="*/ 61 w 3110"/>
              <a:gd name="connsiteY0" fmla="*/ 3110 h 3110"/>
              <a:gd name="connsiteX1" fmla="*/ 2318 w 3110"/>
              <a:gd name="connsiteY1" fmla="*/ 854 h 3110"/>
              <a:gd name="connsiteX2" fmla="*/ 3110 w 3110"/>
              <a:gd name="connsiteY2" fmla="*/ 0 h 3110"/>
              <a:gd name="connsiteX3" fmla="*/ 0 w 3110"/>
              <a:gd name="connsiteY3" fmla="*/ 3110 h 3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10" h="3110">
                <a:moveTo>
                  <a:pt x="61" y="3110"/>
                </a:moveTo>
                <a:cubicBezTo>
                  <a:pt x="793" y="2318"/>
                  <a:pt x="1586" y="1586"/>
                  <a:pt x="2318" y="854"/>
                </a:cubicBezTo>
                <a:cubicBezTo>
                  <a:pt x="2622" y="549"/>
                  <a:pt x="2866" y="305"/>
                  <a:pt x="3110" y="0"/>
                </a:cubicBezTo>
                <a:cubicBezTo>
                  <a:pt x="2073" y="1037"/>
                  <a:pt x="1037" y="2074"/>
                  <a:pt x="0" y="3110"/>
                </a:cubicBezTo>
                <a:close/>
              </a:path>
            </a:pathLst>
          </a:custGeom>
          <a:solidFill>
            <a:srgbClr val="3B6A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44" name="Freeform: Shape 1543">
            <a:extLst>
              <a:ext uri="{FF2B5EF4-FFF2-40B4-BE49-F238E27FC236}">
                <a16:creationId xmlns:a16="http://schemas.microsoft.com/office/drawing/2014/main" id="{054476F4-87B3-BAF4-2B1E-A71F86335F59}"/>
              </a:ext>
            </a:extLst>
          </p:cNvPr>
          <p:cNvSpPr/>
          <p:nvPr/>
        </p:nvSpPr>
        <p:spPr>
          <a:xfrm>
            <a:off x="6887839" y="4329891"/>
            <a:ext cx="66416" cy="6220"/>
          </a:xfrm>
          <a:custGeom>
            <a:avLst/>
            <a:gdLst>
              <a:gd name="connsiteX0" fmla="*/ 60562 w 66416"/>
              <a:gd name="connsiteY0" fmla="*/ 5855 h 6220"/>
              <a:gd name="connsiteX1" fmla="*/ 61721 w 66416"/>
              <a:gd name="connsiteY1" fmla="*/ 4757 h 6220"/>
              <a:gd name="connsiteX2" fmla="*/ 64831 w 66416"/>
              <a:gd name="connsiteY2" fmla="*/ 1647 h 6220"/>
              <a:gd name="connsiteX3" fmla="*/ 66417 w 66416"/>
              <a:gd name="connsiteY3" fmla="*/ 0 h 6220"/>
              <a:gd name="connsiteX4" fmla="*/ 64221 w 66416"/>
              <a:gd name="connsiteY4" fmla="*/ 122 h 6220"/>
              <a:gd name="connsiteX5" fmla="*/ 5550 w 66416"/>
              <a:gd name="connsiteY5" fmla="*/ 122 h 6220"/>
              <a:gd name="connsiteX6" fmla="*/ 0 w 66416"/>
              <a:gd name="connsiteY6" fmla="*/ 6221 h 6220"/>
              <a:gd name="connsiteX7" fmla="*/ 52023 w 66416"/>
              <a:gd name="connsiteY7" fmla="*/ 6221 h 6220"/>
              <a:gd name="connsiteX8" fmla="*/ 60623 w 66416"/>
              <a:gd name="connsiteY8" fmla="*/ 5916 h 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6416" h="6220">
                <a:moveTo>
                  <a:pt x="60562" y="5855"/>
                </a:moveTo>
                <a:cubicBezTo>
                  <a:pt x="60928" y="5489"/>
                  <a:pt x="61294" y="5123"/>
                  <a:pt x="61721" y="4757"/>
                </a:cubicBezTo>
                <a:cubicBezTo>
                  <a:pt x="62757" y="3720"/>
                  <a:pt x="63794" y="2684"/>
                  <a:pt x="64831" y="1647"/>
                </a:cubicBezTo>
                <a:cubicBezTo>
                  <a:pt x="65380" y="1098"/>
                  <a:pt x="65868" y="549"/>
                  <a:pt x="66417" y="0"/>
                </a:cubicBezTo>
                <a:lnTo>
                  <a:pt x="64221" y="122"/>
                </a:lnTo>
                <a:lnTo>
                  <a:pt x="5550" y="122"/>
                </a:lnTo>
                <a:cubicBezTo>
                  <a:pt x="3660" y="2135"/>
                  <a:pt x="1830" y="4147"/>
                  <a:pt x="0" y="6221"/>
                </a:cubicBezTo>
                <a:lnTo>
                  <a:pt x="52023" y="6221"/>
                </a:lnTo>
                <a:lnTo>
                  <a:pt x="60623" y="5916"/>
                </a:lnTo>
                <a:close/>
              </a:path>
            </a:pathLst>
          </a:custGeom>
          <a:solidFill>
            <a:srgbClr val="3B6A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660" name="Picture 2">
            <a:extLst>
              <a:ext uri="{FF2B5EF4-FFF2-40B4-BE49-F238E27FC236}">
                <a16:creationId xmlns:a16="http://schemas.microsoft.com/office/drawing/2014/main" id="{7AEFEFC5-8816-CB00-DCBE-E991E14320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1113" y="5334513"/>
            <a:ext cx="698807" cy="167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2" name="Picture 8">
            <a:extLst>
              <a:ext uri="{FF2B5EF4-FFF2-40B4-BE49-F238E27FC236}">
                <a16:creationId xmlns:a16="http://schemas.microsoft.com/office/drawing/2014/main" id="{A2EA7AAD-CC93-1C54-D476-2B20418857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9122" y="5678038"/>
            <a:ext cx="496695" cy="231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7" name="Picture 8" descr="The data modeling platform for BigQuery">
            <a:extLst>
              <a:ext uri="{FF2B5EF4-FFF2-40B4-BE49-F238E27FC236}">
                <a16:creationId xmlns:a16="http://schemas.microsoft.com/office/drawing/2014/main" id="{ADC37268-524B-E04A-8EB1-5CD1AE2D3E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7610" y="5726667"/>
            <a:ext cx="595911" cy="203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48" name="Oval 1747">
            <a:extLst>
              <a:ext uri="{FF2B5EF4-FFF2-40B4-BE49-F238E27FC236}">
                <a16:creationId xmlns:a16="http://schemas.microsoft.com/office/drawing/2014/main" id="{CEAEFC52-1108-783B-7C9B-C66C804CFA15}"/>
              </a:ext>
            </a:extLst>
          </p:cNvPr>
          <p:cNvSpPr/>
          <p:nvPr/>
        </p:nvSpPr>
        <p:spPr>
          <a:xfrm>
            <a:off x="6327709" y="5910768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83181C1-EB4D-5A35-8309-C4CE8C10346B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225874" y="5027223"/>
            <a:ext cx="568145" cy="568145"/>
          </a:xfrm>
          <a:prstGeom prst="rect">
            <a:avLst/>
          </a:prstGeom>
          <a:ln>
            <a:solidFill>
              <a:srgbClr val="2B45CF"/>
            </a:solidFill>
          </a:ln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443C545-94F3-8432-CCA9-08777EB3E586}"/>
              </a:ext>
            </a:extLst>
          </p:cNvPr>
          <p:cNvSpPr/>
          <p:nvPr/>
        </p:nvSpPr>
        <p:spPr>
          <a:xfrm>
            <a:off x="2454032" y="5442994"/>
            <a:ext cx="4549746" cy="765406"/>
          </a:xfrm>
          <a:custGeom>
            <a:avLst/>
            <a:gdLst>
              <a:gd name="connsiteX0" fmla="*/ 3930774 w 4549746"/>
              <a:gd name="connsiteY0" fmla="*/ 619034 h 765406"/>
              <a:gd name="connsiteX1" fmla="*/ 2546333 w 4549746"/>
              <a:gd name="connsiteY1" fmla="*/ 619034 h 765406"/>
              <a:gd name="connsiteX2" fmla="*/ 2546333 w 4549746"/>
              <a:gd name="connsiteY2" fmla="*/ 624523 h 765406"/>
              <a:gd name="connsiteX3" fmla="*/ 1225260 w 4549746"/>
              <a:gd name="connsiteY3" fmla="*/ 624523 h 765406"/>
              <a:gd name="connsiteX4" fmla="*/ 1225260 w 4549746"/>
              <a:gd name="connsiteY4" fmla="*/ 625133 h 765406"/>
              <a:gd name="connsiteX5" fmla="*/ 626718 w 4549746"/>
              <a:gd name="connsiteY5" fmla="*/ 625133 h 765406"/>
              <a:gd name="connsiteX6" fmla="*/ 0 w 4549746"/>
              <a:gd name="connsiteY6" fmla="*/ 80200 h 765406"/>
              <a:gd name="connsiteX7" fmla="*/ 0 w 4549746"/>
              <a:gd name="connsiteY7" fmla="*/ 146373 h 765406"/>
              <a:gd name="connsiteX8" fmla="*/ 619034 w 4549746"/>
              <a:gd name="connsiteY8" fmla="*/ 765407 h 765406"/>
              <a:gd name="connsiteX9" fmla="*/ 3930713 w 4549746"/>
              <a:gd name="connsiteY9" fmla="*/ 765407 h 765406"/>
              <a:gd name="connsiteX10" fmla="*/ 4549747 w 4549746"/>
              <a:gd name="connsiteY10" fmla="*/ 146373 h 765406"/>
              <a:gd name="connsiteX11" fmla="*/ 4549747 w 4549746"/>
              <a:gd name="connsiteY11" fmla="*/ 0 h 765406"/>
              <a:gd name="connsiteX12" fmla="*/ 3930713 w 4549746"/>
              <a:gd name="connsiteY12" fmla="*/ 619034 h 765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49746" h="765406">
                <a:moveTo>
                  <a:pt x="3930774" y="619034"/>
                </a:moveTo>
                <a:lnTo>
                  <a:pt x="2546333" y="619034"/>
                </a:lnTo>
                <a:lnTo>
                  <a:pt x="2546333" y="624523"/>
                </a:lnTo>
                <a:lnTo>
                  <a:pt x="1225260" y="624523"/>
                </a:lnTo>
                <a:lnTo>
                  <a:pt x="1225260" y="625133"/>
                </a:lnTo>
                <a:lnTo>
                  <a:pt x="626718" y="625133"/>
                </a:lnTo>
                <a:cubicBezTo>
                  <a:pt x="307016" y="625133"/>
                  <a:pt x="42753" y="388070"/>
                  <a:pt x="0" y="80200"/>
                </a:cubicBezTo>
                <a:lnTo>
                  <a:pt x="0" y="146373"/>
                </a:lnTo>
                <a:cubicBezTo>
                  <a:pt x="0" y="488274"/>
                  <a:pt x="277132" y="765407"/>
                  <a:pt x="619034" y="765407"/>
                </a:cubicBezTo>
                <a:lnTo>
                  <a:pt x="3930713" y="765407"/>
                </a:lnTo>
                <a:cubicBezTo>
                  <a:pt x="4272614" y="765407"/>
                  <a:pt x="4549747" y="488274"/>
                  <a:pt x="4549747" y="146373"/>
                </a:cubicBezTo>
                <a:lnTo>
                  <a:pt x="4549747" y="0"/>
                </a:lnTo>
                <a:cubicBezTo>
                  <a:pt x="4549747" y="341902"/>
                  <a:pt x="4272614" y="619034"/>
                  <a:pt x="3930713" y="619034"/>
                </a:cubicBezTo>
                <a:close/>
              </a:path>
            </a:pathLst>
          </a:custGeom>
          <a:solidFill>
            <a:srgbClr val="0F47F2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91AFE604-83C2-91EC-BA58-9921DD79843C}"/>
              </a:ext>
            </a:extLst>
          </p:cNvPr>
          <p:cNvSpPr/>
          <p:nvPr/>
        </p:nvSpPr>
        <p:spPr>
          <a:xfrm>
            <a:off x="2124755" y="2806641"/>
            <a:ext cx="743999" cy="782117"/>
          </a:xfrm>
          <a:custGeom>
            <a:avLst/>
            <a:gdLst>
              <a:gd name="connsiteX0" fmla="*/ 622083 w 743999"/>
              <a:gd name="connsiteY0" fmla="*/ 601896 h 782117"/>
              <a:gd name="connsiteX1" fmla="*/ 619034 w 743999"/>
              <a:gd name="connsiteY1" fmla="*/ 602384 h 782117"/>
              <a:gd name="connsiteX2" fmla="*/ 244 w 743999"/>
              <a:gd name="connsiteY2" fmla="*/ 488 h 782117"/>
              <a:gd name="connsiteX3" fmla="*/ 0 w 743999"/>
              <a:gd name="connsiteY3" fmla="*/ 0 h 782117"/>
              <a:gd name="connsiteX4" fmla="*/ 0 w 743999"/>
              <a:gd name="connsiteY4" fmla="*/ 99289 h 782117"/>
              <a:gd name="connsiteX5" fmla="*/ 615984 w 743999"/>
              <a:gd name="connsiteY5" fmla="*/ 718323 h 782117"/>
              <a:gd name="connsiteX6" fmla="*/ 618790 w 743999"/>
              <a:gd name="connsiteY6" fmla="*/ 717835 h 782117"/>
              <a:gd name="connsiteX7" fmla="*/ 729789 w 743999"/>
              <a:gd name="connsiteY7" fmla="*/ 782117 h 782117"/>
              <a:gd name="connsiteX8" fmla="*/ 744000 w 743999"/>
              <a:gd name="connsiteY8" fmla="*/ 725764 h 782117"/>
              <a:gd name="connsiteX9" fmla="*/ 622083 w 743999"/>
              <a:gd name="connsiteY9" fmla="*/ 601896 h 782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43999" h="782117">
                <a:moveTo>
                  <a:pt x="622083" y="601896"/>
                </a:moveTo>
                <a:lnTo>
                  <a:pt x="619034" y="602384"/>
                </a:lnTo>
                <a:cubicBezTo>
                  <a:pt x="282865" y="602384"/>
                  <a:pt x="9331" y="334461"/>
                  <a:pt x="244" y="488"/>
                </a:cubicBezTo>
                <a:cubicBezTo>
                  <a:pt x="183" y="305"/>
                  <a:pt x="61" y="122"/>
                  <a:pt x="0" y="0"/>
                </a:cubicBezTo>
                <a:lnTo>
                  <a:pt x="0" y="99289"/>
                </a:lnTo>
                <a:cubicBezTo>
                  <a:pt x="0" y="441191"/>
                  <a:pt x="274083" y="718323"/>
                  <a:pt x="615984" y="718323"/>
                </a:cubicBezTo>
                <a:lnTo>
                  <a:pt x="618790" y="717835"/>
                </a:lnTo>
                <a:cubicBezTo>
                  <a:pt x="663799" y="717835"/>
                  <a:pt x="707467" y="746256"/>
                  <a:pt x="729789" y="782117"/>
                </a:cubicBezTo>
                <a:cubicBezTo>
                  <a:pt x="738633" y="765224"/>
                  <a:pt x="743695" y="746073"/>
                  <a:pt x="744000" y="725764"/>
                </a:cubicBezTo>
                <a:cubicBezTo>
                  <a:pt x="743268" y="657213"/>
                  <a:pt x="690818" y="601896"/>
                  <a:pt x="622083" y="601896"/>
                </a:cubicBezTo>
                <a:close/>
              </a:path>
            </a:pathLst>
          </a:custGeom>
          <a:solidFill>
            <a:srgbClr val="0F47F2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18B0163-B2DD-3EC2-8375-DB13C63069C0}"/>
              </a:ext>
            </a:extLst>
          </p:cNvPr>
          <p:cNvSpPr/>
          <p:nvPr/>
        </p:nvSpPr>
        <p:spPr>
          <a:xfrm>
            <a:off x="1071360" y="3988782"/>
            <a:ext cx="1544962" cy="874576"/>
          </a:xfrm>
          <a:custGeom>
            <a:avLst/>
            <a:gdLst>
              <a:gd name="connsiteX0" fmla="*/ 1542096 w 1544962"/>
              <a:gd name="connsiteY0" fmla="*/ 756929 h 874576"/>
              <a:gd name="connsiteX1" fmla="*/ 1538497 w 1544962"/>
              <a:gd name="connsiteY1" fmla="*/ 733388 h 874576"/>
              <a:gd name="connsiteX2" fmla="*/ 1532886 w 1544962"/>
              <a:gd name="connsiteY2" fmla="*/ 733388 h 874576"/>
              <a:gd name="connsiteX3" fmla="*/ 1035464 w 1544962"/>
              <a:gd name="connsiteY3" fmla="*/ 228463 h 874576"/>
              <a:gd name="connsiteX4" fmla="*/ 1029365 w 1544962"/>
              <a:gd name="connsiteY4" fmla="*/ 227426 h 874576"/>
              <a:gd name="connsiteX5" fmla="*/ 1020644 w 1544962"/>
              <a:gd name="connsiteY5" fmla="*/ 226024 h 874576"/>
              <a:gd name="connsiteX6" fmla="*/ 928368 w 1544962"/>
              <a:gd name="connsiteY6" fmla="*/ 219193 h 874576"/>
              <a:gd name="connsiteX7" fmla="*/ 273168 w 1544962"/>
              <a:gd name="connsiteY7" fmla="*/ 219193 h 874576"/>
              <a:gd name="connsiteX8" fmla="*/ 142591 w 1544962"/>
              <a:gd name="connsiteY8" fmla="*/ 186015 h 874576"/>
              <a:gd name="connsiteX9" fmla="*/ 0 w 1544962"/>
              <a:gd name="connsiteY9" fmla="*/ 0 h 874576"/>
              <a:gd name="connsiteX10" fmla="*/ 0 w 1544962"/>
              <a:gd name="connsiteY10" fmla="*/ 61903 h 874576"/>
              <a:gd name="connsiteX11" fmla="*/ 273168 w 1544962"/>
              <a:gd name="connsiteY11" fmla="*/ 335071 h 874576"/>
              <a:gd name="connsiteX12" fmla="*/ 928368 w 1544962"/>
              <a:gd name="connsiteY12" fmla="*/ 335071 h 874576"/>
              <a:gd name="connsiteX13" fmla="*/ 1542279 w 1544962"/>
              <a:gd name="connsiteY13" fmla="*/ 874576 h 874576"/>
              <a:gd name="connsiteX14" fmla="*/ 1544962 w 1544962"/>
              <a:gd name="connsiteY14" fmla="*/ 816820 h 874576"/>
              <a:gd name="connsiteX15" fmla="*/ 1542096 w 1544962"/>
              <a:gd name="connsiteY15" fmla="*/ 756868 h 874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44962" h="874576">
                <a:moveTo>
                  <a:pt x="1542096" y="756929"/>
                </a:moveTo>
                <a:cubicBezTo>
                  <a:pt x="1541059" y="749001"/>
                  <a:pt x="1539839" y="741194"/>
                  <a:pt x="1538497" y="733388"/>
                </a:cubicBezTo>
                <a:lnTo>
                  <a:pt x="1532886" y="733388"/>
                </a:lnTo>
                <a:cubicBezTo>
                  <a:pt x="1489707" y="477724"/>
                  <a:pt x="1289847" y="275363"/>
                  <a:pt x="1035464" y="228463"/>
                </a:cubicBezTo>
                <a:cubicBezTo>
                  <a:pt x="1033451" y="228097"/>
                  <a:pt x="1031439" y="227792"/>
                  <a:pt x="1029365" y="227426"/>
                </a:cubicBezTo>
                <a:cubicBezTo>
                  <a:pt x="1026437" y="226938"/>
                  <a:pt x="1023510" y="226512"/>
                  <a:pt x="1020644" y="226024"/>
                </a:cubicBezTo>
                <a:cubicBezTo>
                  <a:pt x="990515" y="221511"/>
                  <a:pt x="959716" y="219193"/>
                  <a:pt x="928368" y="219193"/>
                </a:cubicBezTo>
                <a:lnTo>
                  <a:pt x="273168" y="219193"/>
                </a:lnTo>
                <a:cubicBezTo>
                  <a:pt x="225841" y="219193"/>
                  <a:pt x="181380" y="207178"/>
                  <a:pt x="142591" y="186015"/>
                </a:cubicBezTo>
                <a:cubicBezTo>
                  <a:pt x="70930" y="148263"/>
                  <a:pt x="17138" y="80566"/>
                  <a:pt x="0" y="0"/>
                </a:cubicBezTo>
                <a:lnTo>
                  <a:pt x="0" y="61903"/>
                </a:lnTo>
                <a:cubicBezTo>
                  <a:pt x="0" y="212789"/>
                  <a:pt x="122282" y="335071"/>
                  <a:pt x="273168" y="335071"/>
                </a:cubicBezTo>
                <a:lnTo>
                  <a:pt x="928368" y="335071"/>
                </a:lnTo>
                <a:cubicBezTo>
                  <a:pt x="1243313" y="335071"/>
                  <a:pt x="1503307" y="570304"/>
                  <a:pt x="1542279" y="874576"/>
                </a:cubicBezTo>
                <a:cubicBezTo>
                  <a:pt x="1543986" y="855548"/>
                  <a:pt x="1544962" y="836275"/>
                  <a:pt x="1544962" y="816820"/>
                </a:cubicBezTo>
                <a:cubicBezTo>
                  <a:pt x="1544962" y="797364"/>
                  <a:pt x="1543925" y="776628"/>
                  <a:pt x="1542096" y="756868"/>
                </a:cubicBezTo>
                <a:close/>
              </a:path>
            </a:pathLst>
          </a:custGeom>
          <a:solidFill>
            <a:srgbClr val="0F47F2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98F6FA54-9C00-30B5-60B6-2BDF43C798C5}"/>
              </a:ext>
            </a:extLst>
          </p:cNvPr>
          <p:cNvSpPr/>
          <p:nvPr/>
        </p:nvSpPr>
        <p:spPr>
          <a:xfrm>
            <a:off x="6779279" y="3187331"/>
            <a:ext cx="1554232" cy="1661389"/>
          </a:xfrm>
          <a:custGeom>
            <a:avLst/>
            <a:gdLst>
              <a:gd name="connsiteX0" fmla="*/ 1547646 w 1554232"/>
              <a:gd name="connsiteY0" fmla="*/ 61 h 1661389"/>
              <a:gd name="connsiteX1" fmla="*/ 569146 w 1554232"/>
              <a:gd name="connsiteY1" fmla="*/ 962705 h 1661389"/>
              <a:gd name="connsiteX2" fmla="*/ 561461 w 1554232"/>
              <a:gd name="connsiteY2" fmla="*/ 965266 h 1661389"/>
              <a:gd name="connsiteX3" fmla="*/ 201689 w 1554232"/>
              <a:gd name="connsiteY3" fmla="*/ 1117189 h 1661389"/>
              <a:gd name="connsiteX4" fmla="*/ 186930 w 1554232"/>
              <a:gd name="connsiteY4" fmla="*/ 1130850 h 1661389"/>
              <a:gd name="connsiteX5" fmla="*/ 183149 w 1554232"/>
              <a:gd name="connsiteY5" fmla="*/ 1134448 h 1661389"/>
              <a:gd name="connsiteX6" fmla="*/ 172598 w 1554232"/>
              <a:gd name="connsiteY6" fmla="*/ 1145000 h 1661389"/>
              <a:gd name="connsiteX7" fmla="*/ 156497 w 1554232"/>
              <a:gd name="connsiteY7" fmla="*/ 1161954 h 1661389"/>
              <a:gd name="connsiteX8" fmla="*/ 154362 w 1554232"/>
              <a:gd name="connsiteY8" fmla="*/ 1164394 h 1661389"/>
              <a:gd name="connsiteX9" fmla="*/ 137834 w 1554232"/>
              <a:gd name="connsiteY9" fmla="*/ 1183483 h 1661389"/>
              <a:gd name="connsiteX10" fmla="*/ 136919 w 1554232"/>
              <a:gd name="connsiteY10" fmla="*/ 1184642 h 1661389"/>
              <a:gd name="connsiteX11" fmla="*/ 121245 w 1554232"/>
              <a:gd name="connsiteY11" fmla="*/ 1204524 h 1661389"/>
              <a:gd name="connsiteX12" fmla="*/ 120270 w 1554232"/>
              <a:gd name="connsiteY12" fmla="*/ 1205805 h 1661389"/>
              <a:gd name="connsiteX13" fmla="*/ 105815 w 1554232"/>
              <a:gd name="connsiteY13" fmla="*/ 1225992 h 1661389"/>
              <a:gd name="connsiteX14" fmla="*/ 103985 w 1554232"/>
              <a:gd name="connsiteY14" fmla="*/ 1228676 h 1661389"/>
              <a:gd name="connsiteX15" fmla="*/ 90995 w 1554232"/>
              <a:gd name="connsiteY15" fmla="*/ 1248680 h 1661389"/>
              <a:gd name="connsiteX16" fmla="*/ 88921 w 1554232"/>
              <a:gd name="connsiteY16" fmla="*/ 1251973 h 1661389"/>
              <a:gd name="connsiteX17" fmla="*/ 77029 w 1554232"/>
              <a:gd name="connsiteY17" fmla="*/ 1272161 h 1661389"/>
              <a:gd name="connsiteX18" fmla="*/ 75138 w 1554232"/>
              <a:gd name="connsiteY18" fmla="*/ 1275576 h 1661389"/>
              <a:gd name="connsiteX19" fmla="*/ 64160 w 1554232"/>
              <a:gd name="connsiteY19" fmla="*/ 1296373 h 1661389"/>
              <a:gd name="connsiteX20" fmla="*/ 62696 w 1554232"/>
              <a:gd name="connsiteY20" fmla="*/ 1299362 h 1661389"/>
              <a:gd name="connsiteX21" fmla="*/ 52389 w 1554232"/>
              <a:gd name="connsiteY21" fmla="*/ 1321134 h 1661389"/>
              <a:gd name="connsiteX22" fmla="*/ 51292 w 1554232"/>
              <a:gd name="connsiteY22" fmla="*/ 1323635 h 1661389"/>
              <a:gd name="connsiteX23" fmla="*/ 44887 w 1554232"/>
              <a:gd name="connsiteY23" fmla="*/ 1338699 h 1661389"/>
              <a:gd name="connsiteX24" fmla="*/ 43058 w 1554232"/>
              <a:gd name="connsiteY24" fmla="*/ 1343212 h 1661389"/>
              <a:gd name="connsiteX25" fmla="*/ 36349 w 1554232"/>
              <a:gd name="connsiteY25" fmla="*/ 1360716 h 1661389"/>
              <a:gd name="connsiteX26" fmla="*/ 35861 w 1554232"/>
              <a:gd name="connsiteY26" fmla="*/ 1361997 h 1661389"/>
              <a:gd name="connsiteX27" fmla="*/ 30189 w 1554232"/>
              <a:gd name="connsiteY27" fmla="*/ 1378525 h 1661389"/>
              <a:gd name="connsiteX28" fmla="*/ 28665 w 1554232"/>
              <a:gd name="connsiteY28" fmla="*/ 1383221 h 1661389"/>
              <a:gd name="connsiteX29" fmla="*/ 23420 w 1554232"/>
              <a:gd name="connsiteY29" fmla="*/ 1400420 h 1661389"/>
              <a:gd name="connsiteX30" fmla="*/ 23176 w 1554232"/>
              <a:gd name="connsiteY30" fmla="*/ 1401152 h 1661389"/>
              <a:gd name="connsiteX31" fmla="*/ 18358 w 1554232"/>
              <a:gd name="connsiteY31" fmla="*/ 1419204 h 1661389"/>
              <a:gd name="connsiteX32" fmla="*/ 17199 w 1554232"/>
              <a:gd name="connsiteY32" fmla="*/ 1423900 h 1661389"/>
              <a:gd name="connsiteX33" fmla="*/ 13479 w 1554232"/>
              <a:gd name="connsiteY33" fmla="*/ 1440001 h 1661389"/>
              <a:gd name="connsiteX34" fmla="*/ 12930 w 1554232"/>
              <a:gd name="connsiteY34" fmla="*/ 1442319 h 1661389"/>
              <a:gd name="connsiteX35" fmla="*/ 9392 w 1554232"/>
              <a:gd name="connsiteY35" fmla="*/ 1460493 h 1661389"/>
              <a:gd name="connsiteX36" fmla="*/ 8600 w 1554232"/>
              <a:gd name="connsiteY36" fmla="*/ 1465128 h 1661389"/>
              <a:gd name="connsiteX37" fmla="*/ 6160 w 1554232"/>
              <a:gd name="connsiteY37" fmla="*/ 1480620 h 1661389"/>
              <a:gd name="connsiteX38" fmla="*/ 5672 w 1554232"/>
              <a:gd name="connsiteY38" fmla="*/ 1483974 h 1661389"/>
              <a:gd name="connsiteX39" fmla="*/ 3415 w 1554232"/>
              <a:gd name="connsiteY39" fmla="*/ 1502270 h 1661389"/>
              <a:gd name="connsiteX40" fmla="*/ 2988 w 1554232"/>
              <a:gd name="connsiteY40" fmla="*/ 1506662 h 1661389"/>
              <a:gd name="connsiteX41" fmla="*/ 1647 w 1554232"/>
              <a:gd name="connsiteY41" fmla="*/ 1521970 h 1661389"/>
              <a:gd name="connsiteX42" fmla="*/ 1342 w 1554232"/>
              <a:gd name="connsiteY42" fmla="*/ 1525934 h 1661389"/>
              <a:gd name="connsiteX43" fmla="*/ 366 w 1554232"/>
              <a:gd name="connsiteY43" fmla="*/ 1544292 h 1661389"/>
              <a:gd name="connsiteX44" fmla="*/ 244 w 1554232"/>
              <a:gd name="connsiteY44" fmla="*/ 1548317 h 1661389"/>
              <a:gd name="connsiteX45" fmla="*/ 0 w 1554232"/>
              <a:gd name="connsiteY45" fmla="*/ 1563686 h 1661389"/>
              <a:gd name="connsiteX46" fmla="*/ 0 w 1554232"/>
              <a:gd name="connsiteY46" fmla="*/ 1568138 h 1661389"/>
              <a:gd name="connsiteX47" fmla="*/ 366 w 1554232"/>
              <a:gd name="connsiteY47" fmla="*/ 1586496 h 1661389"/>
              <a:gd name="connsiteX48" fmla="*/ 488 w 1554232"/>
              <a:gd name="connsiteY48" fmla="*/ 1589850 h 1661389"/>
              <a:gd name="connsiteX49" fmla="*/ 1342 w 1554232"/>
              <a:gd name="connsiteY49" fmla="*/ 1605524 h 1661389"/>
              <a:gd name="connsiteX50" fmla="*/ 1647 w 1554232"/>
              <a:gd name="connsiteY50" fmla="*/ 1610220 h 1661389"/>
              <a:gd name="connsiteX51" fmla="*/ 3294 w 1554232"/>
              <a:gd name="connsiteY51" fmla="*/ 1628578 h 1661389"/>
              <a:gd name="connsiteX52" fmla="*/ 3537 w 1554232"/>
              <a:gd name="connsiteY52" fmla="*/ 1630956 h 1661389"/>
              <a:gd name="connsiteX53" fmla="*/ 5550 w 1554232"/>
              <a:gd name="connsiteY53" fmla="*/ 1647301 h 1661389"/>
              <a:gd name="connsiteX54" fmla="*/ 6221 w 1554232"/>
              <a:gd name="connsiteY54" fmla="*/ 1652119 h 1661389"/>
              <a:gd name="connsiteX55" fmla="*/ 7685 w 1554232"/>
              <a:gd name="connsiteY55" fmla="*/ 1661390 h 1661389"/>
              <a:gd name="connsiteX56" fmla="*/ 207849 w 1554232"/>
              <a:gd name="connsiteY56" fmla="*/ 1257401 h 1661389"/>
              <a:gd name="connsiteX57" fmla="*/ 572195 w 1554232"/>
              <a:gd name="connsiteY57" fmla="*/ 1105235 h 1661389"/>
              <a:gd name="connsiteX58" fmla="*/ 575366 w 1554232"/>
              <a:gd name="connsiteY58" fmla="*/ 1102917 h 1661389"/>
              <a:gd name="connsiteX59" fmla="*/ 1554232 w 1554232"/>
              <a:gd name="connsiteY59" fmla="*/ 113378 h 1661389"/>
              <a:gd name="connsiteX60" fmla="*/ 1547768 w 1554232"/>
              <a:gd name="connsiteY60" fmla="*/ 0 h 1661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554232" h="1661389">
                <a:moveTo>
                  <a:pt x="1547646" y="61"/>
                </a:moveTo>
                <a:cubicBezTo>
                  <a:pt x="1533558" y="534138"/>
                  <a:pt x="1100844" y="962705"/>
                  <a:pt x="569146" y="962705"/>
                </a:cubicBezTo>
                <a:lnTo>
                  <a:pt x="561461" y="965266"/>
                </a:lnTo>
                <a:cubicBezTo>
                  <a:pt x="432897" y="974048"/>
                  <a:pt x="305797" y="1024303"/>
                  <a:pt x="201689" y="1117189"/>
                </a:cubicBezTo>
                <a:cubicBezTo>
                  <a:pt x="196627" y="1121702"/>
                  <a:pt x="191748" y="1126276"/>
                  <a:pt x="186930" y="1130850"/>
                </a:cubicBezTo>
                <a:cubicBezTo>
                  <a:pt x="185649" y="1132070"/>
                  <a:pt x="184429" y="1133290"/>
                  <a:pt x="183149" y="1134448"/>
                </a:cubicBezTo>
                <a:cubicBezTo>
                  <a:pt x="179550" y="1137925"/>
                  <a:pt x="176074" y="1141462"/>
                  <a:pt x="172598" y="1145000"/>
                </a:cubicBezTo>
                <a:cubicBezTo>
                  <a:pt x="167109" y="1150610"/>
                  <a:pt x="161681" y="1156221"/>
                  <a:pt x="156497" y="1161954"/>
                </a:cubicBezTo>
                <a:cubicBezTo>
                  <a:pt x="155765" y="1162747"/>
                  <a:pt x="155033" y="1163540"/>
                  <a:pt x="154362" y="1164394"/>
                </a:cubicBezTo>
                <a:cubicBezTo>
                  <a:pt x="148690" y="1170676"/>
                  <a:pt x="143140" y="1177019"/>
                  <a:pt x="137834" y="1183483"/>
                </a:cubicBezTo>
                <a:cubicBezTo>
                  <a:pt x="137529" y="1183849"/>
                  <a:pt x="137224" y="1184215"/>
                  <a:pt x="136919" y="1184642"/>
                </a:cubicBezTo>
                <a:cubicBezTo>
                  <a:pt x="131552" y="1191168"/>
                  <a:pt x="126307" y="1197815"/>
                  <a:pt x="121245" y="1204524"/>
                </a:cubicBezTo>
                <a:cubicBezTo>
                  <a:pt x="120940" y="1204951"/>
                  <a:pt x="120575" y="1205378"/>
                  <a:pt x="120270" y="1205805"/>
                </a:cubicBezTo>
                <a:cubicBezTo>
                  <a:pt x="115269" y="1212453"/>
                  <a:pt x="110450" y="1219161"/>
                  <a:pt x="105815" y="1225992"/>
                </a:cubicBezTo>
                <a:cubicBezTo>
                  <a:pt x="105205" y="1226907"/>
                  <a:pt x="104596" y="1227761"/>
                  <a:pt x="103985" y="1228676"/>
                </a:cubicBezTo>
                <a:cubicBezTo>
                  <a:pt x="99472" y="1235263"/>
                  <a:pt x="95142" y="1241910"/>
                  <a:pt x="90995" y="1248680"/>
                </a:cubicBezTo>
                <a:cubicBezTo>
                  <a:pt x="90324" y="1249778"/>
                  <a:pt x="89592" y="1250876"/>
                  <a:pt x="88921" y="1251973"/>
                </a:cubicBezTo>
                <a:cubicBezTo>
                  <a:pt x="84835" y="1258621"/>
                  <a:pt x="80871" y="1265391"/>
                  <a:pt x="77029" y="1272161"/>
                </a:cubicBezTo>
                <a:cubicBezTo>
                  <a:pt x="76419" y="1273319"/>
                  <a:pt x="75748" y="1274417"/>
                  <a:pt x="75138" y="1275576"/>
                </a:cubicBezTo>
                <a:cubicBezTo>
                  <a:pt x="71357" y="1282468"/>
                  <a:pt x="67636" y="1289359"/>
                  <a:pt x="64160" y="1296373"/>
                </a:cubicBezTo>
                <a:cubicBezTo>
                  <a:pt x="63672" y="1297349"/>
                  <a:pt x="63184" y="1298386"/>
                  <a:pt x="62696" y="1299362"/>
                </a:cubicBezTo>
                <a:cubicBezTo>
                  <a:pt x="59098" y="1306558"/>
                  <a:pt x="55683" y="1313816"/>
                  <a:pt x="52389" y="1321134"/>
                </a:cubicBezTo>
                <a:cubicBezTo>
                  <a:pt x="52023" y="1321988"/>
                  <a:pt x="51658" y="1322781"/>
                  <a:pt x="51292" y="1323635"/>
                </a:cubicBezTo>
                <a:cubicBezTo>
                  <a:pt x="49096" y="1328636"/>
                  <a:pt x="46961" y="1333637"/>
                  <a:pt x="44887" y="1338699"/>
                </a:cubicBezTo>
                <a:cubicBezTo>
                  <a:pt x="44278" y="1340224"/>
                  <a:pt x="43668" y="1341688"/>
                  <a:pt x="43058" y="1343212"/>
                </a:cubicBezTo>
                <a:cubicBezTo>
                  <a:pt x="40740" y="1349006"/>
                  <a:pt x="38484" y="1354861"/>
                  <a:pt x="36349" y="1360716"/>
                </a:cubicBezTo>
                <a:cubicBezTo>
                  <a:pt x="36166" y="1361143"/>
                  <a:pt x="36044" y="1361570"/>
                  <a:pt x="35861" y="1361997"/>
                </a:cubicBezTo>
                <a:cubicBezTo>
                  <a:pt x="33849" y="1367486"/>
                  <a:pt x="32019" y="1373036"/>
                  <a:pt x="30189" y="1378525"/>
                </a:cubicBezTo>
                <a:cubicBezTo>
                  <a:pt x="29701" y="1380110"/>
                  <a:pt x="29153" y="1381635"/>
                  <a:pt x="28665" y="1383221"/>
                </a:cubicBezTo>
                <a:cubicBezTo>
                  <a:pt x="26835" y="1388954"/>
                  <a:pt x="25066" y="1394687"/>
                  <a:pt x="23420" y="1400420"/>
                </a:cubicBezTo>
                <a:cubicBezTo>
                  <a:pt x="23359" y="1400664"/>
                  <a:pt x="23298" y="1400908"/>
                  <a:pt x="23176" y="1401152"/>
                </a:cubicBezTo>
                <a:cubicBezTo>
                  <a:pt x="21468" y="1407128"/>
                  <a:pt x="19882" y="1413166"/>
                  <a:pt x="18358" y="1419204"/>
                </a:cubicBezTo>
                <a:cubicBezTo>
                  <a:pt x="17931" y="1420790"/>
                  <a:pt x="17565" y="1422375"/>
                  <a:pt x="17199" y="1423900"/>
                </a:cubicBezTo>
                <a:cubicBezTo>
                  <a:pt x="15918" y="1429267"/>
                  <a:pt x="14637" y="1434634"/>
                  <a:pt x="13479" y="1440001"/>
                </a:cubicBezTo>
                <a:cubicBezTo>
                  <a:pt x="13295" y="1440794"/>
                  <a:pt x="13113" y="1441587"/>
                  <a:pt x="12930" y="1442319"/>
                </a:cubicBezTo>
                <a:cubicBezTo>
                  <a:pt x="11649" y="1448357"/>
                  <a:pt x="10490" y="1454394"/>
                  <a:pt x="9392" y="1460493"/>
                </a:cubicBezTo>
                <a:cubicBezTo>
                  <a:pt x="9087" y="1462018"/>
                  <a:pt x="8843" y="1463604"/>
                  <a:pt x="8600" y="1465128"/>
                </a:cubicBezTo>
                <a:cubicBezTo>
                  <a:pt x="7746" y="1470313"/>
                  <a:pt x="6892" y="1475436"/>
                  <a:pt x="6160" y="1480620"/>
                </a:cubicBezTo>
                <a:cubicBezTo>
                  <a:pt x="5977" y="1481717"/>
                  <a:pt x="5794" y="1482815"/>
                  <a:pt x="5672" y="1483974"/>
                </a:cubicBezTo>
                <a:cubicBezTo>
                  <a:pt x="4818" y="1490073"/>
                  <a:pt x="4087" y="1496172"/>
                  <a:pt x="3415" y="1502270"/>
                </a:cubicBezTo>
                <a:cubicBezTo>
                  <a:pt x="3233" y="1503734"/>
                  <a:pt x="3110" y="1505198"/>
                  <a:pt x="2988" y="1506662"/>
                </a:cubicBezTo>
                <a:cubicBezTo>
                  <a:pt x="2501" y="1511785"/>
                  <a:pt x="2013" y="1516908"/>
                  <a:pt x="1647" y="1521970"/>
                </a:cubicBezTo>
                <a:cubicBezTo>
                  <a:pt x="1525" y="1523312"/>
                  <a:pt x="1464" y="1524592"/>
                  <a:pt x="1342" y="1525934"/>
                </a:cubicBezTo>
                <a:cubicBezTo>
                  <a:pt x="915" y="1532033"/>
                  <a:pt x="610" y="1538132"/>
                  <a:pt x="366" y="1544292"/>
                </a:cubicBezTo>
                <a:cubicBezTo>
                  <a:pt x="366" y="1545633"/>
                  <a:pt x="305" y="1546975"/>
                  <a:pt x="244" y="1548317"/>
                </a:cubicBezTo>
                <a:cubicBezTo>
                  <a:pt x="122" y="1553440"/>
                  <a:pt x="0" y="1558563"/>
                  <a:pt x="0" y="1563686"/>
                </a:cubicBezTo>
                <a:cubicBezTo>
                  <a:pt x="0" y="1565150"/>
                  <a:pt x="0" y="1566613"/>
                  <a:pt x="0" y="1568138"/>
                </a:cubicBezTo>
                <a:cubicBezTo>
                  <a:pt x="0" y="1574237"/>
                  <a:pt x="122" y="1580397"/>
                  <a:pt x="366" y="1586496"/>
                </a:cubicBezTo>
                <a:cubicBezTo>
                  <a:pt x="366" y="1587654"/>
                  <a:pt x="488" y="1588752"/>
                  <a:pt x="488" y="1589850"/>
                </a:cubicBezTo>
                <a:cubicBezTo>
                  <a:pt x="671" y="1595095"/>
                  <a:pt x="976" y="1600279"/>
                  <a:pt x="1342" y="1605524"/>
                </a:cubicBezTo>
                <a:cubicBezTo>
                  <a:pt x="1464" y="1607110"/>
                  <a:pt x="1525" y="1608635"/>
                  <a:pt x="1647" y="1610220"/>
                </a:cubicBezTo>
                <a:cubicBezTo>
                  <a:pt x="2074" y="1616380"/>
                  <a:pt x="2622" y="1622479"/>
                  <a:pt x="3294" y="1628578"/>
                </a:cubicBezTo>
                <a:cubicBezTo>
                  <a:pt x="3354" y="1629371"/>
                  <a:pt x="3476" y="1630164"/>
                  <a:pt x="3537" y="1630956"/>
                </a:cubicBezTo>
                <a:cubicBezTo>
                  <a:pt x="4147" y="1636384"/>
                  <a:pt x="4818" y="1641873"/>
                  <a:pt x="5550" y="1647301"/>
                </a:cubicBezTo>
                <a:cubicBezTo>
                  <a:pt x="5794" y="1648887"/>
                  <a:pt x="5977" y="1650534"/>
                  <a:pt x="6221" y="1652119"/>
                </a:cubicBezTo>
                <a:cubicBezTo>
                  <a:pt x="6648" y="1655230"/>
                  <a:pt x="7197" y="1658279"/>
                  <a:pt x="7685" y="1661390"/>
                </a:cubicBezTo>
                <a:cubicBezTo>
                  <a:pt x="18907" y="1511846"/>
                  <a:pt x="86360" y="1365717"/>
                  <a:pt x="207849" y="1257401"/>
                </a:cubicBezTo>
                <a:cubicBezTo>
                  <a:pt x="313176" y="1163479"/>
                  <a:pt x="442106" y="1113102"/>
                  <a:pt x="572195" y="1105235"/>
                </a:cubicBezTo>
                <a:lnTo>
                  <a:pt x="575366" y="1102917"/>
                </a:lnTo>
                <a:cubicBezTo>
                  <a:pt x="1115969" y="1102917"/>
                  <a:pt x="1554232" y="659896"/>
                  <a:pt x="1554232" y="113378"/>
                </a:cubicBezTo>
                <a:cubicBezTo>
                  <a:pt x="1554232" y="75016"/>
                  <a:pt x="1551976" y="37203"/>
                  <a:pt x="1547768" y="0"/>
                </a:cubicBezTo>
                <a:close/>
              </a:path>
            </a:pathLst>
          </a:custGeom>
          <a:solidFill>
            <a:srgbClr val="0F47F2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77F3FC60-D6C7-4EEA-D1CF-BA16BDEA0C01}"/>
              </a:ext>
            </a:extLst>
          </p:cNvPr>
          <p:cNvSpPr/>
          <p:nvPr/>
        </p:nvSpPr>
        <p:spPr>
          <a:xfrm>
            <a:off x="3598270" y="2171078"/>
            <a:ext cx="2366747" cy="1384440"/>
          </a:xfrm>
          <a:custGeom>
            <a:avLst/>
            <a:gdLst>
              <a:gd name="connsiteX0" fmla="*/ 195555 w 2366747"/>
              <a:gd name="connsiteY0" fmla="*/ 356783 h 1384440"/>
              <a:gd name="connsiteX1" fmla="*/ 392 w 2366747"/>
              <a:gd name="connsiteY1" fmla="*/ 606836 h 1384440"/>
              <a:gd name="connsiteX2" fmla="*/ 392 w 2366747"/>
              <a:gd name="connsiteY2" fmla="*/ 1291555 h 1384440"/>
              <a:gd name="connsiteX3" fmla="*/ 3441 w 2366747"/>
              <a:gd name="connsiteY3" fmla="*/ 1286859 h 1384440"/>
              <a:gd name="connsiteX4" fmla="*/ 3441 w 2366747"/>
              <a:gd name="connsiteY4" fmla="*/ 1158783 h 1384440"/>
              <a:gd name="connsiteX5" fmla="*/ 143715 w 2366747"/>
              <a:gd name="connsiteY5" fmla="*/ 1018509 h 1384440"/>
              <a:gd name="connsiteX6" fmla="*/ 1363486 w 2366747"/>
              <a:gd name="connsiteY6" fmla="*/ 1018509 h 1384440"/>
              <a:gd name="connsiteX7" fmla="*/ 1479364 w 2366747"/>
              <a:gd name="connsiteY7" fmla="*/ 1085597 h 1384440"/>
              <a:gd name="connsiteX8" fmla="*/ 1479364 w 2366747"/>
              <a:gd name="connsiteY8" fmla="*/ 1286859 h 1384440"/>
              <a:gd name="connsiteX9" fmla="*/ 1576946 w 2366747"/>
              <a:gd name="connsiteY9" fmla="*/ 1384441 h 1384440"/>
              <a:gd name="connsiteX10" fmla="*/ 1994718 w 2366747"/>
              <a:gd name="connsiteY10" fmla="*/ 1384441 h 1384440"/>
              <a:gd name="connsiteX11" fmla="*/ 1994718 w 2366747"/>
              <a:gd name="connsiteY11" fmla="*/ 1149635 h 1384440"/>
              <a:gd name="connsiteX12" fmla="*/ 2086201 w 2366747"/>
              <a:gd name="connsiteY12" fmla="*/ 954471 h 1384440"/>
              <a:gd name="connsiteX13" fmla="*/ 2366748 w 2366747"/>
              <a:gd name="connsiteY13" fmla="*/ 954471 h 1384440"/>
              <a:gd name="connsiteX14" fmla="*/ 2317957 w 2366747"/>
              <a:gd name="connsiteY14" fmla="*/ 808099 h 1384440"/>
              <a:gd name="connsiteX15" fmla="*/ 2317957 w 2366747"/>
              <a:gd name="connsiteY15" fmla="*/ 673924 h 1384440"/>
              <a:gd name="connsiteX16" fmla="*/ 2147189 w 2366747"/>
              <a:gd name="connsiteY16" fmla="*/ 503156 h 1384440"/>
              <a:gd name="connsiteX17" fmla="*/ 1671478 w 2366747"/>
              <a:gd name="connsiteY17" fmla="*/ 503156 h 1384440"/>
              <a:gd name="connsiteX18" fmla="*/ 1592193 w 2366747"/>
              <a:gd name="connsiteY18" fmla="*/ 417772 h 1384440"/>
              <a:gd name="connsiteX19" fmla="*/ 1592193 w 2366747"/>
              <a:gd name="connsiteY19" fmla="*/ 0 h 1384440"/>
              <a:gd name="connsiteX20" fmla="*/ 415114 w 2366747"/>
              <a:gd name="connsiteY20" fmla="*/ 0 h 1384440"/>
              <a:gd name="connsiteX21" fmla="*/ 415114 w 2366747"/>
              <a:gd name="connsiteY21" fmla="*/ 149422 h 1384440"/>
              <a:gd name="connsiteX22" fmla="*/ 195555 w 2366747"/>
              <a:gd name="connsiteY22" fmla="*/ 356783 h 1384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366747" h="1384440">
                <a:moveTo>
                  <a:pt x="195555" y="356783"/>
                </a:moveTo>
                <a:cubicBezTo>
                  <a:pt x="-17905" y="350684"/>
                  <a:pt x="392" y="606836"/>
                  <a:pt x="392" y="606836"/>
                </a:cubicBezTo>
                <a:lnTo>
                  <a:pt x="392" y="1291555"/>
                </a:lnTo>
                <a:lnTo>
                  <a:pt x="3441" y="1286859"/>
                </a:lnTo>
                <a:lnTo>
                  <a:pt x="3441" y="1158783"/>
                </a:lnTo>
                <a:cubicBezTo>
                  <a:pt x="3441" y="1158783"/>
                  <a:pt x="-14855" y="1018509"/>
                  <a:pt x="143715" y="1018509"/>
                </a:cubicBezTo>
                <a:lnTo>
                  <a:pt x="1363486" y="1018509"/>
                </a:lnTo>
                <a:cubicBezTo>
                  <a:pt x="1363486" y="1018509"/>
                  <a:pt x="1479364" y="1006311"/>
                  <a:pt x="1479364" y="1085597"/>
                </a:cubicBezTo>
                <a:lnTo>
                  <a:pt x="1479364" y="1286859"/>
                </a:lnTo>
                <a:cubicBezTo>
                  <a:pt x="1479364" y="1286859"/>
                  <a:pt x="1473266" y="1384441"/>
                  <a:pt x="1576946" y="1384441"/>
                </a:cubicBezTo>
                <a:lnTo>
                  <a:pt x="1994718" y="1384441"/>
                </a:lnTo>
                <a:lnTo>
                  <a:pt x="1994718" y="1149635"/>
                </a:lnTo>
                <a:cubicBezTo>
                  <a:pt x="1994718" y="1149635"/>
                  <a:pt x="1970322" y="954471"/>
                  <a:pt x="2086201" y="954471"/>
                </a:cubicBezTo>
                <a:lnTo>
                  <a:pt x="2366748" y="954471"/>
                </a:lnTo>
                <a:cubicBezTo>
                  <a:pt x="2366748" y="954471"/>
                  <a:pt x="2317957" y="905680"/>
                  <a:pt x="2317957" y="808099"/>
                </a:cubicBezTo>
                <a:lnTo>
                  <a:pt x="2317957" y="673924"/>
                </a:lnTo>
                <a:cubicBezTo>
                  <a:pt x="2317957" y="673924"/>
                  <a:pt x="2330155" y="509255"/>
                  <a:pt x="2147189" y="503156"/>
                </a:cubicBezTo>
                <a:lnTo>
                  <a:pt x="1671478" y="503156"/>
                </a:lnTo>
                <a:cubicBezTo>
                  <a:pt x="1671478" y="503156"/>
                  <a:pt x="1592193" y="503156"/>
                  <a:pt x="1592193" y="417772"/>
                </a:cubicBezTo>
                <a:lnTo>
                  <a:pt x="1592193" y="0"/>
                </a:lnTo>
                <a:lnTo>
                  <a:pt x="415114" y="0"/>
                </a:lnTo>
                <a:lnTo>
                  <a:pt x="415114" y="149422"/>
                </a:lnTo>
                <a:cubicBezTo>
                  <a:pt x="415114" y="289696"/>
                  <a:pt x="409015" y="362882"/>
                  <a:pt x="195555" y="356783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64B873D6-5330-5ED6-CD8E-076E254A44F1}"/>
              </a:ext>
            </a:extLst>
          </p:cNvPr>
          <p:cNvSpPr/>
          <p:nvPr/>
        </p:nvSpPr>
        <p:spPr>
          <a:xfrm>
            <a:off x="1871701" y="2566471"/>
            <a:ext cx="366" cy="18906"/>
          </a:xfrm>
          <a:custGeom>
            <a:avLst/>
            <a:gdLst>
              <a:gd name="connsiteX0" fmla="*/ 0 w 366"/>
              <a:gd name="connsiteY0" fmla="*/ 0 h 18906"/>
              <a:gd name="connsiteX1" fmla="*/ 0 w 366"/>
              <a:gd name="connsiteY1" fmla="*/ 1525 h 18906"/>
              <a:gd name="connsiteX2" fmla="*/ 244 w 366"/>
              <a:gd name="connsiteY2" fmla="*/ 18662 h 18906"/>
              <a:gd name="connsiteX3" fmla="*/ 366 w 366"/>
              <a:gd name="connsiteY3" fmla="*/ 18906 h 18906"/>
              <a:gd name="connsiteX4" fmla="*/ 0 w 366"/>
              <a:gd name="connsiteY4" fmla="*/ 0 h 1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" h="18906">
                <a:moveTo>
                  <a:pt x="0" y="0"/>
                </a:moveTo>
                <a:cubicBezTo>
                  <a:pt x="0" y="488"/>
                  <a:pt x="0" y="1037"/>
                  <a:pt x="0" y="1525"/>
                </a:cubicBezTo>
                <a:cubicBezTo>
                  <a:pt x="0" y="7258"/>
                  <a:pt x="61" y="12930"/>
                  <a:pt x="244" y="18662"/>
                </a:cubicBezTo>
                <a:cubicBezTo>
                  <a:pt x="244" y="18723"/>
                  <a:pt x="305" y="18845"/>
                  <a:pt x="366" y="18906"/>
                </a:cubicBezTo>
                <a:cubicBezTo>
                  <a:pt x="183" y="12625"/>
                  <a:pt x="0" y="6343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AD8168B9-F5D7-B9EF-652A-409F43538540}"/>
              </a:ext>
            </a:extLst>
          </p:cNvPr>
          <p:cNvSpPr/>
          <p:nvPr/>
        </p:nvSpPr>
        <p:spPr>
          <a:xfrm>
            <a:off x="2124999" y="2807129"/>
            <a:ext cx="743816" cy="725276"/>
          </a:xfrm>
          <a:custGeom>
            <a:avLst/>
            <a:gdLst>
              <a:gd name="connsiteX0" fmla="*/ 618790 w 743816"/>
              <a:gd name="connsiteY0" fmla="*/ 601896 h 725276"/>
              <a:gd name="connsiteX1" fmla="*/ 621839 w 743816"/>
              <a:gd name="connsiteY1" fmla="*/ 601408 h 725276"/>
              <a:gd name="connsiteX2" fmla="*/ 743756 w 743816"/>
              <a:gd name="connsiteY2" fmla="*/ 725276 h 725276"/>
              <a:gd name="connsiteX3" fmla="*/ 743816 w 743816"/>
              <a:gd name="connsiteY3" fmla="*/ 723629 h 725276"/>
              <a:gd name="connsiteX4" fmla="*/ 621839 w 743816"/>
              <a:gd name="connsiteY4" fmla="*/ 598359 h 725276"/>
              <a:gd name="connsiteX5" fmla="*/ 618790 w 743816"/>
              <a:gd name="connsiteY5" fmla="*/ 598847 h 725276"/>
              <a:gd name="connsiteX6" fmla="*/ 122 w 743816"/>
              <a:gd name="connsiteY6" fmla="*/ 244 h 725276"/>
              <a:gd name="connsiteX7" fmla="*/ 0 w 743816"/>
              <a:gd name="connsiteY7" fmla="*/ 0 h 725276"/>
              <a:gd name="connsiteX8" fmla="*/ 618790 w 743816"/>
              <a:gd name="connsiteY8" fmla="*/ 601896 h 72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43816" h="725276">
                <a:moveTo>
                  <a:pt x="618790" y="601896"/>
                </a:moveTo>
                <a:lnTo>
                  <a:pt x="621839" y="601408"/>
                </a:lnTo>
                <a:cubicBezTo>
                  <a:pt x="690574" y="601408"/>
                  <a:pt x="743024" y="656725"/>
                  <a:pt x="743756" y="725276"/>
                </a:cubicBezTo>
                <a:cubicBezTo>
                  <a:pt x="743756" y="724727"/>
                  <a:pt x="743816" y="724178"/>
                  <a:pt x="743816" y="723629"/>
                </a:cubicBezTo>
                <a:cubicBezTo>
                  <a:pt x="743816" y="654468"/>
                  <a:pt x="691000" y="598359"/>
                  <a:pt x="621839" y="598359"/>
                </a:cubicBezTo>
                <a:lnTo>
                  <a:pt x="618790" y="598847"/>
                </a:lnTo>
                <a:cubicBezTo>
                  <a:pt x="283719" y="598847"/>
                  <a:pt x="10917" y="332632"/>
                  <a:pt x="122" y="244"/>
                </a:cubicBezTo>
                <a:cubicBezTo>
                  <a:pt x="122" y="183"/>
                  <a:pt x="61" y="61"/>
                  <a:pt x="0" y="0"/>
                </a:cubicBezTo>
                <a:cubicBezTo>
                  <a:pt x="9087" y="333973"/>
                  <a:pt x="282621" y="601896"/>
                  <a:pt x="618790" y="601896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1B486B02-41CC-1804-5724-9D97EA1B8A72}"/>
              </a:ext>
            </a:extLst>
          </p:cNvPr>
          <p:cNvSpPr/>
          <p:nvPr/>
        </p:nvSpPr>
        <p:spPr>
          <a:xfrm>
            <a:off x="1213891" y="4174797"/>
            <a:ext cx="878052" cy="40008"/>
          </a:xfrm>
          <a:custGeom>
            <a:avLst/>
            <a:gdLst>
              <a:gd name="connsiteX0" fmla="*/ 761686 w 878052"/>
              <a:gd name="connsiteY0" fmla="*/ 32141 h 40008"/>
              <a:gd name="connsiteX1" fmla="*/ 129540 w 878052"/>
              <a:gd name="connsiteY1" fmla="*/ 32141 h 40008"/>
              <a:gd name="connsiteX2" fmla="*/ 0 w 878052"/>
              <a:gd name="connsiteY2" fmla="*/ 0 h 40008"/>
              <a:gd name="connsiteX3" fmla="*/ 130577 w 878052"/>
              <a:gd name="connsiteY3" fmla="*/ 33178 h 40008"/>
              <a:gd name="connsiteX4" fmla="*/ 785777 w 878052"/>
              <a:gd name="connsiteY4" fmla="*/ 33178 h 40008"/>
              <a:gd name="connsiteX5" fmla="*/ 878052 w 878052"/>
              <a:gd name="connsiteY5" fmla="*/ 40008 h 40008"/>
              <a:gd name="connsiteX6" fmla="*/ 779922 w 878052"/>
              <a:gd name="connsiteY6" fmla="*/ 32141 h 40008"/>
              <a:gd name="connsiteX7" fmla="*/ 761625 w 878052"/>
              <a:gd name="connsiteY7" fmla="*/ 32141 h 40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8052" h="40008">
                <a:moveTo>
                  <a:pt x="761686" y="32141"/>
                </a:moveTo>
                <a:lnTo>
                  <a:pt x="129540" y="32141"/>
                </a:lnTo>
                <a:cubicBezTo>
                  <a:pt x="83066" y="32141"/>
                  <a:pt x="38911" y="20492"/>
                  <a:pt x="0" y="0"/>
                </a:cubicBezTo>
                <a:cubicBezTo>
                  <a:pt x="38789" y="21163"/>
                  <a:pt x="83310" y="33178"/>
                  <a:pt x="130577" y="33178"/>
                </a:cubicBezTo>
                <a:lnTo>
                  <a:pt x="785777" y="33178"/>
                </a:lnTo>
                <a:cubicBezTo>
                  <a:pt x="817125" y="33178"/>
                  <a:pt x="847985" y="35556"/>
                  <a:pt x="878052" y="40008"/>
                </a:cubicBezTo>
                <a:cubicBezTo>
                  <a:pt x="846094" y="34885"/>
                  <a:pt x="813343" y="32141"/>
                  <a:pt x="779922" y="32141"/>
                </a:cubicBezTo>
                <a:lnTo>
                  <a:pt x="761625" y="32141"/>
                </a:ln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52F388AC-C04A-7C15-68DB-3E15C6E87A6A}"/>
              </a:ext>
            </a:extLst>
          </p:cNvPr>
          <p:cNvSpPr/>
          <p:nvPr/>
        </p:nvSpPr>
        <p:spPr>
          <a:xfrm>
            <a:off x="2100725" y="4216209"/>
            <a:ext cx="6098" cy="1036"/>
          </a:xfrm>
          <a:custGeom>
            <a:avLst/>
            <a:gdLst>
              <a:gd name="connsiteX0" fmla="*/ 6099 w 6098"/>
              <a:gd name="connsiteY0" fmla="*/ 1037 h 1036"/>
              <a:gd name="connsiteX1" fmla="*/ 0 w 6098"/>
              <a:gd name="connsiteY1" fmla="*/ 0 h 1036"/>
              <a:gd name="connsiteX2" fmla="*/ 6099 w 6098"/>
              <a:gd name="connsiteY2" fmla="*/ 1037 h 1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98" h="1036">
                <a:moveTo>
                  <a:pt x="6099" y="1037"/>
                </a:moveTo>
                <a:cubicBezTo>
                  <a:pt x="4086" y="671"/>
                  <a:pt x="2074" y="366"/>
                  <a:pt x="0" y="0"/>
                </a:cubicBezTo>
                <a:cubicBezTo>
                  <a:pt x="2013" y="305"/>
                  <a:pt x="4086" y="671"/>
                  <a:pt x="6099" y="1037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89" name="Freeform: Shape 1488">
            <a:extLst>
              <a:ext uri="{FF2B5EF4-FFF2-40B4-BE49-F238E27FC236}">
                <a16:creationId xmlns:a16="http://schemas.microsoft.com/office/drawing/2014/main" id="{925C4F94-2CBA-03C0-9980-6D071C41EB1F}"/>
              </a:ext>
            </a:extLst>
          </p:cNvPr>
          <p:cNvSpPr/>
          <p:nvPr/>
        </p:nvSpPr>
        <p:spPr>
          <a:xfrm>
            <a:off x="3575377" y="3191833"/>
            <a:ext cx="2016882" cy="1040831"/>
          </a:xfrm>
          <a:custGeom>
            <a:avLst/>
            <a:gdLst>
              <a:gd name="connsiteX0" fmla="*/ 1619246 w 1994325"/>
              <a:gd name="connsiteY0" fmla="*/ 939899 h 1022233"/>
              <a:gd name="connsiteX1" fmla="*/ 1994326 w 1994325"/>
              <a:gd name="connsiteY1" fmla="*/ 939899 h 1022233"/>
              <a:gd name="connsiteX2" fmla="*/ 1994326 w 1994325"/>
              <a:gd name="connsiteY2" fmla="*/ 366607 h 1022233"/>
              <a:gd name="connsiteX3" fmla="*/ 1576554 w 1994325"/>
              <a:gd name="connsiteY3" fmla="*/ 366607 h 1022233"/>
              <a:gd name="connsiteX4" fmla="*/ 1478973 w 1994325"/>
              <a:gd name="connsiteY4" fmla="*/ 269025 h 1022233"/>
              <a:gd name="connsiteX5" fmla="*/ 1478973 w 1994325"/>
              <a:gd name="connsiteY5" fmla="*/ 67763 h 1022233"/>
              <a:gd name="connsiteX6" fmla="*/ 1363094 w 1994325"/>
              <a:gd name="connsiteY6" fmla="*/ 675 h 1022233"/>
              <a:gd name="connsiteX7" fmla="*/ 143323 w 1994325"/>
              <a:gd name="connsiteY7" fmla="*/ 675 h 1022233"/>
              <a:gd name="connsiteX8" fmla="*/ 3049 w 1994325"/>
              <a:gd name="connsiteY8" fmla="*/ 140949 h 1022233"/>
              <a:gd name="connsiteX9" fmla="*/ 3049 w 1994325"/>
              <a:gd name="connsiteY9" fmla="*/ 269025 h 1022233"/>
              <a:gd name="connsiteX10" fmla="*/ 0 w 1994325"/>
              <a:gd name="connsiteY10" fmla="*/ 273721 h 1022233"/>
              <a:gd name="connsiteX11" fmla="*/ 0 w 1994325"/>
              <a:gd name="connsiteY11" fmla="*/ 413202 h 1022233"/>
              <a:gd name="connsiteX12" fmla="*/ 85628 w 1994325"/>
              <a:gd name="connsiteY12" fmla="*/ 539387 h 1022233"/>
              <a:gd name="connsiteX13" fmla="*/ 85628 w 1994325"/>
              <a:gd name="connsiteY13" fmla="*/ 778280 h 1022233"/>
              <a:gd name="connsiteX14" fmla="*/ 292745 w 1994325"/>
              <a:gd name="connsiteY14" fmla="*/ 778280 h 1022233"/>
              <a:gd name="connsiteX15" fmla="*/ 475711 w 1994325"/>
              <a:gd name="connsiteY15" fmla="*/ 906356 h 1022233"/>
              <a:gd name="connsiteX16" fmla="*/ 568840 w 1994325"/>
              <a:gd name="connsiteY16" fmla="*/ 1022234 h 1022233"/>
              <a:gd name="connsiteX17" fmla="*/ 1433414 w 1994325"/>
              <a:gd name="connsiteY17" fmla="*/ 1022234 h 1022233"/>
              <a:gd name="connsiteX18" fmla="*/ 1619246 w 1994325"/>
              <a:gd name="connsiteY18" fmla="*/ 939899 h 1022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994325" h="1022233">
                <a:moveTo>
                  <a:pt x="1619246" y="939899"/>
                </a:moveTo>
                <a:lnTo>
                  <a:pt x="1994326" y="939899"/>
                </a:lnTo>
                <a:lnTo>
                  <a:pt x="1994326" y="366607"/>
                </a:lnTo>
                <a:lnTo>
                  <a:pt x="1576554" y="366607"/>
                </a:lnTo>
                <a:cubicBezTo>
                  <a:pt x="1472874" y="366607"/>
                  <a:pt x="1478973" y="269025"/>
                  <a:pt x="1478973" y="269025"/>
                </a:cubicBezTo>
                <a:lnTo>
                  <a:pt x="1478973" y="67763"/>
                </a:lnTo>
                <a:cubicBezTo>
                  <a:pt x="1478973" y="-11522"/>
                  <a:pt x="1363094" y="675"/>
                  <a:pt x="1363094" y="675"/>
                </a:cubicBezTo>
                <a:lnTo>
                  <a:pt x="143323" y="675"/>
                </a:lnTo>
                <a:cubicBezTo>
                  <a:pt x="-15247" y="675"/>
                  <a:pt x="3049" y="140949"/>
                  <a:pt x="3049" y="140949"/>
                </a:cubicBezTo>
                <a:lnTo>
                  <a:pt x="3049" y="269025"/>
                </a:lnTo>
                <a:lnTo>
                  <a:pt x="0" y="273721"/>
                </a:lnTo>
                <a:lnTo>
                  <a:pt x="0" y="413202"/>
                </a:lnTo>
                <a:cubicBezTo>
                  <a:pt x="99838" y="436987"/>
                  <a:pt x="85628" y="539387"/>
                  <a:pt x="85628" y="539387"/>
                </a:cubicBezTo>
                <a:lnTo>
                  <a:pt x="85628" y="778280"/>
                </a:lnTo>
                <a:lnTo>
                  <a:pt x="292745" y="778280"/>
                </a:lnTo>
                <a:cubicBezTo>
                  <a:pt x="292745" y="778280"/>
                  <a:pt x="469612" y="778280"/>
                  <a:pt x="475711" y="906356"/>
                </a:cubicBezTo>
                <a:cubicBezTo>
                  <a:pt x="479858" y="992959"/>
                  <a:pt x="534138" y="1016196"/>
                  <a:pt x="568840" y="1022234"/>
                </a:cubicBezTo>
                <a:lnTo>
                  <a:pt x="1433414" y="1022234"/>
                </a:lnTo>
                <a:cubicBezTo>
                  <a:pt x="1463482" y="974541"/>
                  <a:pt x="1518920" y="937643"/>
                  <a:pt x="1619246" y="939899"/>
                </a:cubicBezTo>
                <a:close/>
              </a:path>
            </a:pathLst>
          </a:custGeom>
          <a:solidFill>
            <a:schemeClr val="accent1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92" name="Freeform: Shape 1491">
            <a:extLst>
              <a:ext uri="{FF2B5EF4-FFF2-40B4-BE49-F238E27FC236}">
                <a16:creationId xmlns:a16="http://schemas.microsoft.com/office/drawing/2014/main" id="{2CB0BF7B-6BAF-1936-8C4B-F3F326D62C74}"/>
              </a:ext>
            </a:extLst>
          </p:cNvPr>
          <p:cNvSpPr/>
          <p:nvPr/>
        </p:nvSpPr>
        <p:spPr>
          <a:xfrm>
            <a:off x="1894063" y="2080530"/>
            <a:ext cx="2465882" cy="1599179"/>
          </a:xfrm>
          <a:custGeom>
            <a:avLst/>
            <a:gdLst>
              <a:gd name="connsiteX0" fmla="*/ 619034 w 1887595"/>
              <a:gd name="connsiteY0" fmla="*/ 0 h 1434085"/>
              <a:gd name="connsiteX1" fmla="*/ 0 w 1887595"/>
              <a:gd name="connsiteY1" fmla="*/ 619034 h 1434085"/>
              <a:gd name="connsiteX2" fmla="*/ 0 w 1887595"/>
              <a:gd name="connsiteY2" fmla="*/ 620559 h 1434085"/>
              <a:gd name="connsiteX3" fmla="*/ 366 w 1887595"/>
              <a:gd name="connsiteY3" fmla="*/ 639465 h 1434085"/>
              <a:gd name="connsiteX4" fmla="*/ 619034 w 1887595"/>
              <a:gd name="connsiteY4" fmla="*/ 1238068 h 1434085"/>
              <a:gd name="connsiteX5" fmla="*/ 622083 w 1887595"/>
              <a:gd name="connsiteY5" fmla="*/ 1237580 h 1434085"/>
              <a:gd name="connsiteX6" fmla="*/ 744060 w 1887595"/>
              <a:gd name="connsiteY6" fmla="*/ 1362851 h 1434085"/>
              <a:gd name="connsiteX7" fmla="*/ 744000 w 1887595"/>
              <a:gd name="connsiteY7" fmla="*/ 1364497 h 1434085"/>
              <a:gd name="connsiteX8" fmla="*/ 744060 w 1887595"/>
              <a:gd name="connsiteY8" fmla="*/ 1365900 h 1434085"/>
              <a:gd name="connsiteX9" fmla="*/ 730643 w 1887595"/>
              <a:gd name="connsiteY9" fmla="*/ 1422131 h 1434085"/>
              <a:gd name="connsiteX10" fmla="*/ 726801 w 1887595"/>
              <a:gd name="connsiteY10" fmla="*/ 1429145 h 1434085"/>
              <a:gd name="connsiteX11" fmla="*/ 1427376 w 1887595"/>
              <a:gd name="connsiteY11" fmla="*/ 1429145 h 1434085"/>
              <a:gd name="connsiteX12" fmla="*/ 1442379 w 1887595"/>
              <a:gd name="connsiteY12" fmla="*/ 1429633 h 1434085"/>
              <a:gd name="connsiteX13" fmla="*/ 1472874 w 1887595"/>
              <a:gd name="connsiteY13" fmla="*/ 1434085 h 1434085"/>
              <a:gd name="connsiteX14" fmla="*/ 1472874 w 1887595"/>
              <a:gd name="connsiteY14" fmla="*/ 609886 h 1434085"/>
              <a:gd name="connsiteX15" fmla="*/ 1668037 w 1887595"/>
              <a:gd name="connsiteY15" fmla="*/ 359833 h 1434085"/>
              <a:gd name="connsiteX16" fmla="*/ 1887596 w 1887595"/>
              <a:gd name="connsiteY16" fmla="*/ 152471 h 1434085"/>
              <a:gd name="connsiteX17" fmla="*/ 1887596 w 1887595"/>
              <a:gd name="connsiteY17" fmla="*/ 0 h 1434085"/>
              <a:gd name="connsiteX18" fmla="*/ 619034 w 1887595"/>
              <a:gd name="connsiteY18" fmla="*/ 0 h 1434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887595" h="1434085">
                <a:moveTo>
                  <a:pt x="619034" y="0"/>
                </a:moveTo>
                <a:cubicBezTo>
                  <a:pt x="277132" y="0"/>
                  <a:pt x="0" y="277132"/>
                  <a:pt x="0" y="619034"/>
                </a:cubicBezTo>
                <a:cubicBezTo>
                  <a:pt x="0" y="619522"/>
                  <a:pt x="0" y="620071"/>
                  <a:pt x="0" y="620559"/>
                </a:cubicBezTo>
                <a:cubicBezTo>
                  <a:pt x="0" y="626902"/>
                  <a:pt x="122" y="633183"/>
                  <a:pt x="366" y="639465"/>
                </a:cubicBezTo>
                <a:cubicBezTo>
                  <a:pt x="11161" y="971914"/>
                  <a:pt x="283963" y="1238068"/>
                  <a:pt x="619034" y="1238068"/>
                </a:cubicBezTo>
                <a:lnTo>
                  <a:pt x="622083" y="1237580"/>
                </a:lnTo>
                <a:cubicBezTo>
                  <a:pt x="691244" y="1237580"/>
                  <a:pt x="744060" y="1293690"/>
                  <a:pt x="744060" y="1362851"/>
                </a:cubicBezTo>
                <a:cubicBezTo>
                  <a:pt x="744060" y="1363399"/>
                  <a:pt x="744000" y="1363948"/>
                  <a:pt x="744000" y="1364497"/>
                </a:cubicBezTo>
                <a:cubicBezTo>
                  <a:pt x="744000" y="1364985"/>
                  <a:pt x="744060" y="1365473"/>
                  <a:pt x="744060" y="1365900"/>
                </a:cubicBezTo>
                <a:cubicBezTo>
                  <a:pt x="744060" y="1386148"/>
                  <a:pt x="739120" y="1405177"/>
                  <a:pt x="730643" y="1422131"/>
                </a:cubicBezTo>
                <a:cubicBezTo>
                  <a:pt x="729423" y="1424510"/>
                  <a:pt x="728143" y="1426889"/>
                  <a:pt x="726801" y="1429145"/>
                </a:cubicBezTo>
                <a:lnTo>
                  <a:pt x="1427376" y="1429145"/>
                </a:lnTo>
                <a:cubicBezTo>
                  <a:pt x="1432560" y="1429145"/>
                  <a:pt x="1437561" y="1429328"/>
                  <a:pt x="1442379" y="1429633"/>
                </a:cubicBezTo>
                <a:cubicBezTo>
                  <a:pt x="1453601" y="1430365"/>
                  <a:pt x="1463665" y="1431890"/>
                  <a:pt x="1472874" y="1434085"/>
                </a:cubicBezTo>
                <a:lnTo>
                  <a:pt x="1472874" y="609886"/>
                </a:lnTo>
                <a:cubicBezTo>
                  <a:pt x="1472874" y="609886"/>
                  <a:pt x="1454577" y="353734"/>
                  <a:pt x="1668037" y="359833"/>
                </a:cubicBezTo>
                <a:cubicBezTo>
                  <a:pt x="1881497" y="365931"/>
                  <a:pt x="1887596" y="292745"/>
                  <a:pt x="1887596" y="152471"/>
                </a:cubicBezTo>
                <a:lnTo>
                  <a:pt x="1887596" y="0"/>
                </a:lnTo>
                <a:cubicBezTo>
                  <a:pt x="1887596" y="0"/>
                  <a:pt x="619034" y="0"/>
                  <a:pt x="619034" y="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93" name="Freeform: Shape 1492">
            <a:extLst>
              <a:ext uri="{FF2B5EF4-FFF2-40B4-BE49-F238E27FC236}">
                <a16:creationId xmlns:a16="http://schemas.microsoft.com/office/drawing/2014/main" id="{EF749D7D-FE49-5B64-4941-B11437D07DE5}"/>
              </a:ext>
            </a:extLst>
          </p:cNvPr>
          <p:cNvSpPr/>
          <p:nvPr/>
        </p:nvSpPr>
        <p:spPr>
          <a:xfrm>
            <a:off x="1071299" y="3942614"/>
            <a:ext cx="142591" cy="232244"/>
          </a:xfrm>
          <a:custGeom>
            <a:avLst/>
            <a:gdLst>
              <a:gd name="connsiteX0" fmla="*/ 142591 w 142591"/>
              <a:gd name="connsiteY0" fmla="*/ 232184 h 232244"/>
              <a:gd name="connsiteX1" fmla="*/ 244 w 142591"/>
              <a:gd name="connsiteY1" fmla="*/ 1647 h 232244"/>
              <a:gd name="connsiteX2" fmla="*/ 0 w 142591"/>
              <a:gd name="connsiteY2" fmla="*/ 0 h 232244"/>
              <a:gd name="connsiteX3" fmla="*/ 0 w 142591"/>
              <a:gd name="connsiteY3" fmla="*/ 46229 h 232244"/>
              <a:gd name="connsiteX4" fmla="*/ 142591 w 142591"/>
              <a:gd name="connsiteY4" fmla="*/ 232245 h 232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591" h="232244">
                <a:moveTo>
                  <a:pt x="142591" y="232184"/>
                </a:moveTo>
                <a:cubicBezTo>
                  <a:pt x="60257" y="187296"/>
                  <a:pt x="3659" y="101180"/>
                  <a:pt x="244" y="1647"/>
                </a:cubicBezTo>
                <a:cubicBezTo>
                  <a:pt x="183" y="1098"/>
                  <a:pt x="61" y="549"/>
                  <a:pt x="0" y="0"/>
                </a:cubicBezTo>
                <a:lnTo>
                  <a:pt x="0" y="46229"/>
                </a:lnTo>
                <a:cubicBezTo>
                  <a:pt x="17138" y="126795"/>
                  <a:pt x="70869" y="194493"/>
                  <a:pt x="142591" y="232245"/>
                </a:cubicBezTo>
                <a:close/>
              </a:path>
            </a:pathLst>
          </a:custGeom>
          <a:solidFill>
            <a:srgbClr val="BD6A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94" name="Freeform: Shape 1493">
            <a:extLst>
              <a:ext uri="{FF2B5EF4-FFF2-40B4-BE49-F238E27FC236}">
                <a16:creationId xmlns:a16="http://schemas.microsoft.com/office/drawing/2014/main" id="{A55E465D-5AC2-7A62-3DD8-B909BE52C7E7}"/>
              </a:ext>
            </a:extLst>
          </p:cNvPr>
          <p:cNvSpPr/>
          <p:nvPr/>
        </p:nvSpPr>
        <p:spPr>
          <a:xfrm>
            <a:off x="2092065" y="4214806"/>
            <a:ext cx="8721" cy="1402"/>
          </a:xfrm>
          <a:custGeom>
            <a:avLst/>
            <a:gdLst>
              <a:gd name="connsiteX0" fmla="*/ 8721 w 8721"/>
              <a:gd name="connsiteY0" fmla="*/ 1403 h 1402"/>
              <a:gd name="connsiteX1" fmla="*/ 0 w 8721"/>
              <a:gd name="connsiteY1" fmla="*/ 0 h 1402"/>
              <a:gd name="connsiteX2" fmla="*/ 8721 w 8721"/>
              <a:gd name="connsiteY2" fmla="*/ 1403 h 1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721" h="1402">
                <a:moveTo>
                  <a:pt x="8721" y="1403"/>
                </a:moveTo>
                <a:cubicBezTo>
                  <a:pt x="5794" y="915"/>
                  <a:pt x="2927" y="427"/>
                  <a:pt x="0" y="0"/>
                </a:cubicBezTo>
                <a:cubicBezTo>
                  <a:pt x="2927" y="488"/>
                  <a:pt x="5855" y="915"/>
                  <a:pt x="8721" y="1403"/>
                </a:cubicBezTo>
                <a:close/>
              </a:path>
            </a:pathLst>
          </a:custGeom>
          <a:solidFill>
            <a:srgbClr val="BD6A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96" name="Freeform: Shape 1495">
            <a:extLst>
              <a:ext uri="{FF2B5EF4-FFF2-40B4-BE49-F238E27FC236}">
                <a16:creationId xmlns:a16="http://schemas.microsoft.com/office/drawing/2014/main" id="{DEDD6BB6-746A-0991-C5D2-79877F4143CB}"/>
              </a:ext>
            </a:extLst>
          </p:cNvPr>
          <p:cNvSpPr/>
          <p:nvPr/>
        </p:nvSpPr>
        <p:spPr>
          <a:xfrm>
            <a:off x="1076503" y="3510377"/>
            <a:ext cx="2618406" cy="1354953"/>
          </a:xfrm>
          <a:custGeom>
            <a:avLst/>
            <a:gdLst>
              <a:gd name="connsiteX0" fmla="*/ 2532142 w 2618406"/>
              <a:gd name="connsiteY0" fmla="*/ 4940 h 1125056"/>
              <a:gd name="connsiteX1" fmla="*/ 2501648 w 2618406"/>
              <a:gd name="connsiteY1" fmla="*/ 488 h 1125056"/>
              <a:gd name="connsiteX2" fmla="*/ 2486645 w 2618406"/>
              <a:gd name="connsiteY2" fmla="*/ 0 h 1125056"/>
              <a:gd name="connsiteX3" fmla="*/ 1786069 w 2618406"/>
              <a:gd name="connsiteY3" fmla="*/ 0 h 1125056"/>
              <a:gd name="connsiteX4" fmla="*/ 1778995 w 2618406"/>
              <a:gd name="connsiteY4" fmla="*/ 10734 h 1125056"/>
              <a:gd name="connsiteX5" fmla="*/ 1776860 w 2618406"/>
              <a:gd name="connsiteY5" fmla="*/ 10734 h 1125056"/>
              <a:gd name="connsiteX6" fmla="*/ 1777104 w 2618406"/>
              <a:gd name="connsiteY6" fmla="*/ 10429 h 1125056"/>
              <a:gd name="connsiteX7" fmla="*/ 1784240 w 2618406"/>
              <a:gd name="connsiteY7" fmla="*/ 61 h 1125056"/>
              <a:gd name="connsiteX8" fmla="*/ 1781922 w 2618406"/>
              <a:gd name="connsiteY8" fmla="*/ 61 h 1125056"/>
              <a:gd name="connsiteX9" fmla="*/ 1769724 w 2618406"/>
              <a:gd name="connsiteY9" fmla="*/ 16345 h 1125056"/>
              <a:gd name="connsiteX10" fmla="*/ 1733131 w 2618406"/>
              <a:gd name="connsiteY10" fmla="*/ 46839 h 1125056"/>
              <a:gd name="connsiteX11" fmla="*/ 1690439 w 2618406"/>
              <a:gd name="connsiteY11" fmla="*/ 59037 h 1125056"/>
              <a:gd name="connsiteX12" fmla="*/ 1672143 w 2618406"/>
              <a:gd name="connsiteY12" fmla="*/ 61172 h 1125056"/>
              <a:gd name="connsiteX13" fmla="*/ 1635793 w 2618406"/>
              <a:gd name="connsiteY13" fmla="*/ 61050 h 1125056"/>
              <a:gd name="connsiteX14" fmla="*/ 273187 w 2618406"/>
              <a:gd name="connsiteY14" fmla="*/ 61050 h 1125056"/>
              <a:gd name="connsiteX15" fmla="*/ 19 w 2618406"/>
              <a:gd name="connsiteY15" fmla="*/ 333669 h 1125056"/>
              <a:gd name="connsiteX16" fmla="*/ 5813 w 2618406"/>
              <a:gd name="connsiteY16" fmla="*/ 391730 h 1125056"/>
              <a:gd name="connsiteX17" fmla="*/ 5813 w 2618406"/>
              <a:gd name="connsiteY17" fmla="*/ 345500 h 1125056"/>
              <a:gd name="connsiteX18" fmla="*/ 6057 w 2618406"/>
              <a:gd name="connsiteY18" fmla="*/ 347147 h 1125056"/>
              <a:gd name="connsiteX19" fmla="*/ 148404 w 2618406"/>
              <a:gd name="connsiteY19" fmla="*/ 577684 h 1125056"/>
              <a:gd name="connsiteX20" fmla="*/ 277944 w 2618406"/>
              <a:gd name="connsiteY20" fmla="*/ 609825 h 1125056"/>
              <a:gd name="connsiteX21" fmla="*/ 928387 w 2618406"/>
              <a:gd name="connsiteY21" fmla="*/ 609825 h 1125056"/>
              <a:gd name="connsiteX22" fmla="*/ 1026518 w 2618406"/>
              <a:gd name="connsiteY22" fmla="*/ 617692 h 1125056"/>
              <a:gd name="connsiteX23" fmla="*/ 1035239 w 2618406"/>
              <a:gd name="connsiteY23" fmla="*/ 619095 h 1125056"/>
              <a:gd name="connsiteX24" fmla="*/ 1041338 w 2618406"/>
              <a:gd name="connsiteY24" fmla="*/ 620132 h 1125056"/>
              <a:gd name="connsiteX25" fmla="*/ 1538761 w 2618406"/>
              <a:gd name="connsiteY25" fmla="*/ 1124995 h 1125056"/>
              <a:gd name="connsiteX26" fmla="*/ 1544372 w 2618406"/>
              <a:gd name="connsiteY26" fmla="*/ 1124995 h 1125056"/>
              <a:gd name="connsiteX27" fmla="*/ 1545286 w 2618406"/>
              <a:gd name="connsiteY27" fmla="*/ 1125056 h 1125056"/>
              <a:gd name="connsiteX28" fmla="*/ 1544677 w 2618406"/>
              <a:gd name="connsiteY28" fmla="*/ 1120116 h 1125056"/>
              <a:gd name="connsiteX29" fmla="*/ 1547665 w 2618406"/>
              <a:gd name="connsiteY29" fmla="*/ 1121214 h 1125056"/>
              <a:gd name="connsiteX30" fmla="*/ 2282028 w 2618406"/>
              <a:gd name="connsiteY30" fmla="*/ 1121214 h 1125056"/>
              <a:gd name="connsiteX31" fmla="*/ 2282028 w 2618406"/>
              <a:gd name="connsiteY31" fmla="*/ 498033 h 1125056"/>
              <a:gd name="connsiteX32" fmla="*/ 2416203 w 2618406"/>
              <a:gd name="connsiteY32" fmla="*/ 369957 h 1125056"/>
              <a:gd name="connsiteX33" fmla="*/ 2617709 w 2618406"/>
              <a:gd name="connsiteY33" fmla="*/ 369957 h 1125056"/>
              <a:gd name="connsiteX34" fmla="*/ 2617709 w 2618406"/>
              <a:gd name="connsiteY34" fmla="*/ 131064 h 1125056"/>
              <a:gd name="connsiteX35" fmla="*/ 2532081 w 2618406"/>
              <a:gd name="connsiteY35" fmla="*/ 4879 h 1125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2618406" h="1125056">
                <a:moveTo>
                  <a:pt x="2532142" y="4940"/>
                </a:moveTo>
                <a:cubicBezTo>
                  <a:pt x="2522933" y="2744"/>
                  <a:pt x="2512870" y="1220"/>
                  <a:pt x="2501648" y="488"/>
                </a:cubicBezTo>
                <a:cubicBezTo>
                  <a:pt x="2496830" y="183"/>
                  <a:pt x="2491890" y="0"/>
                  <a:pt x="2486645" y="0"/>
                </a:cubicBezTo>
                <a:lnTo>
                  <a:pt x="1786069" y="0"/>
                </a:lnTo>
                <a:cubicBezTo>
                  <a:pt x="1783874" y="3720"/>
                  <a:pt x="1781556" y="7258"/>
                  <a:pt x="1778995" y="10734"/>
                </a:cubicBezTo>
                <a:lnTo>
                  <a:pt x="1776860" y="10734"/>
                </a:lnTo>
                <a:lnTo>
                  <a:pt x="1777104" y="10429"/>
                </a:lnTo>
                <a:cubicBezTo>
                  <a:pt x="1779665" y="7136"/>
                  <a:pt x="1782044" y="3598"/>
                  <a:pt x="1784240" y="61"/>
                </a:cubicBezTo>
                <a:lnTo>
                  <a:pt x="1781922" y="61"/>
                </a:lnTo>
                <a:lnTo>
                  <a:pt x="1769724" y="16345"/>
                </a:lnTo>
                <a:cubicBezTo>
                  <a:pt x="1759722" y="25920"/>
                  <a:pt x="1745146" y="40313"/>
                  <a:pt x="1733131" y="46839"/>
                </a:cubicBezTo>
                <a:cubicBezTo>
                  <a:pt x="1721117" y="53365"/>
                  <a:pt x="1703918" y="55866"/>
                  <a:pt x="1690439" y="59037"/>
                </a:cubicBezTo>
                <a:lnTo>
                  <a:pt x="1672143" y="61172"/>
                </a:lnTo>
                <a:lnTo>
                  <a:pt x="1635793" y="61050"/>
                </a:lnTo>
                <a:lnTo>
                  <a:pt x="273187" y="61050"/>
                </a:lnTo>
                <a:cubicBezTo>
                  <a:pt x="123338" y="60989"/>
                  <a:pt x="1666" y="184185"/>
                  <a:pt x="19" y="333669"/>
                </a:cubicBezTo>
                <a:cubicBezTo>
                  <a:pt x="-225" y="353551"/>
                  <a:pt x="1849" y="373006"/>
                  <a:pt x="5813" y="391730"/>
                </a:cubicBezTo>
                <a:lnTo>
                  <a:pt x="5813" y="345500"/>
                </a:lnTo>
                <a:cubicBezTo>
                  <a:pt x="5874" y="346049"/>
                  <a:pt x="5996" y="346598"/>
                  <a:pt x="6057" y="347147"/>
                </a:cubicBezTo>
                <a:cubicBezTo>
                  <a:pt x="9412" y="446741"/>
                  <a:pt x="66009" y="532796"/>
                  <a:pt x="148404" y="577684"/>
                </a:cubicBezTo>
                <a:cubicBezTo>
                  <a:pt x="187315" y="598176"/>
                  <a:pt x="231471" y="609825"/>
                  <a:pt x="277944" y="609825"/>
                </a:cubicBezTo>
                <a:lnTo>
                  <a:pt x="928387" y="609825"/>
                </a:lnTo>
                <a:cubicBezTo>
                  <a:pt x="961809" y="609825"/>
                  <a:pt x="994560" y="612630"/>
                  <a:pt x="1026518" y="617692"/>
                </a:cubicBezTo>
                <a:cubicBezTo>
                  <a:pt x="1029445" y="618119"/>
                  <a:pt x="1032373" y="618607"/>
                  <a:pt x="1035239" y="619095"/>
                </a:cubicBezTo>
                <a:cubicBezTo>
                  <a:pt x="1037252" y="619461"/>
                  <a:pt x="1039325" y="619705"/>
                  <a:pt x="1041338" y="620132"/>
                </a:cubicBezTo>
                <a:cubicBezTo>
                  <a:pt x="1295660" y="667032"/>
                  <a:pt x="1495520" y="869392"/>
                  <a:pt x="1538761" y="1124995"/>
                </a:cubicBezTo>
                <a:lnTo>
                  <a:pt x="1544372" y="1124995"/>
                </a:lnTo>
                <a:cubicBezTo>
                  <a:pt x="1544372" y="1124995"/>
                  <a:pt x="1545286" y="1125056"/>
                  <a:pt x="1545286" y="1125056"/>
                </a:cubicBezTo>
                <a:cubicBezTo>
                  <a:pt x="1545043" y="1123409"/>
                  <a:pt x="1544921" y="1121763"/>
                  <a:pt x="1544677" y="1120116"/>
                </a:cubicBezTo>
                <a:lnTo>
                  <a:pt x="1547665" y="1121214"/>
                </a:lnTo>
                <a:lnTo>
                  <a:pt x="2282028" y="1121214"/>
                </a:lnTo>
                <a:lnTo>
                  <a:pt x="2282028" y="498033"/>
                </a:lnTo>
                <a:cubicBezTo>
                  <a:pt x="2275930" y="351660"/>
                  <a:pt x="2416203" y="369957"/>
                  <a:pt x="2416203" y="369957"/>
                </a:cubicBezTo>
                <a:lnTo>
                  <a:pt x="2617709" y="369957"/>
                </a:lnTo>
                <a:lnTo>
                  <a:pt x="2617709" y="131064"/>
                </a:lnTo>
                <a:cubicBezTo>
                  <a:pt x="2617709" y="131064"/>
                  <a:pt x="2631920" y="28665"/>
                  <a:pt x="2532081" y="4879"/>
                </a:cubicBezTo>
                <a:close/>
              </a:path>
            </a:pathLst>
          </a:custGeom>
          <a:solidFill>
            <a:srgbClr val="009CDA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97" name="Freeform: Shape 1496">
            <a:extLst>
              <a:ext uri="{FF2B5EF4-FFF2-40B4-BE49-F238E27FC236}">
                <a16:creationId xmlns:a16="http://schemas.microsoft.com/office/drawing/2014/main" id="{A4F459AE-45D8-1E25-ADAE-98C60F5AA214}"/>
              </a:ext>
            </a:extLst>
          </p:cNvPr>
          <p:cNvSpPr/>
          <p:nvPr/>
        </p:nvSpPr>
        <p:spPr>
          <a:xfrm>
            <a:off x="3347382" y="3966338"/>
            <a:ext cx="1683782" cy="1049796"/>
          </a:xfrm>
          <a:custGeom>
            <a:avLst/>
            <a:gdLst>
              <a:gd name="connsiteX0" fmla="*/ 1683661 w 1683782"/>
              <a:gd name="connsiteY0" fmla="*/ 244686 h 1049796"/>
              <a:gd name="connsiteX1" fmla="*/ 819087 w 1683782"/>
              <a:gd name="connsiteY1" fmla="*/ 244686 h 1049796"/>
              <a:gd name="connsiteX2" fmla="*/ 725957 w 1683782"/>
              <a:gd name="connsiteY2" fmla="*/ 128808 h 1049796"/>
              <a:gd name="connsiteX3" fmla="*/ 542991 w 1683782"/>
              <a:gd name="connsiteY3" fmla="*/ 732 h 1049796"/>
              <a:gd name="connsiteX4" fmla="*/ 134368 w 1683782"/>
              <a:gd name="connsiteY4" fmla="*/ 732 h 1049796"/>
              <a:gd name="connsiteX5" fmla="*/ 193 w 1683782"/>
              <a:gd name="connsiteY5" fmla="*/ 128808 h 1049796"/>
              <a:gd name="connsiteX6" fmla="*/ 193 w 1683782"/>
              <a:gd name="connsiteY6" fmla="*/ 751989 h 1049796"/>
              <a:gd name="connsiteX7" fmla="*/ 257138 w 1683782"/>
              <a:gd name="connsiteY7" fmla="*/ 751989 h 1049796"/>
              <a:gd name="connsiteX8" fmla="*/ 282875 w 1683782"/>
              <a:gd name="connsiteY8" fmla="*/ 755953 h 1049796"/>
              <a:gd name="connsiteX9" fmla="*/ 339412 w 1683782"/>
              <a:gd name="connsiteY9" fmla="*/ 845545 h 1049796"/>
              <a:gd name="connsiteX10" fmla="*/ 339412 w 1683782"/>
              <a:gd name="connsiteY10" fmla="*/ 1031805 h 1049796"/>
              <a:gd name="connsiteX11" fmla="*/ 339290 w 1683782"/>
              <a:gd name="connsiteY11" fmla="*/ 1047723 h 1049796"/>
              <a:gd name="connsiteX12" fmla="*/ 1653044 w 1683782"/>
              <a:gd name="connsiteY12" fmla="*/ 1047723 h 1049796"/>
              <a:gd name="connsiteX13" fmla="*/ 1653044 w 1683782"/>
              <a:gd name="connsiteY13" fmla="*/ 1049796 h 1049796"/>
              <a:gd name="connsiteX14" fmla="*/ 1656094 w 1683782"/>
              <a:gd name="connsiteY14" fmla="*/ 1049796 h 1049796"/>
              <a:gd name="connsiteX15" fmla="*/ 1656094 w 1683782"/>
              <a:gd name="connsiteY15" fmla="*/ 442960 h 1049796"/>
              <a:gd name="connsiteX16" fmla="*/ 1682624 w 1683782"/>
              <a:gd name="connsiteY16" fmla="*/ 246577 h 1049796"/>
              <a:gd name="connsiteX17" fmla="*/ 1683782 w 1683782"/>
              <a:gd name="connsiteY17" fmla="*/ 244747 h 10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683782" h="1049796">
                <a:moveTo>
                  <a:pt x="1683661" y="244686"/>
                </a:moveTo>
                <a:lnTo>
                  <a:pt x="819087" y="244686"/>
                </a:lnTo>
                <a:cubicBezTo>
                  <a:pt x="784323" y="238648"/>
                  <a:pt x="730043" y="215412"/>
                  <a:pt x="725957" y="128808"/>
                </a:cubicBezTo>
                <a:cubicBezTo>
                  <a:pt x="719858" y="732"/>
                  <a:pt x="542991" y="732"/>
                  <a:pt x="542991" y="732"/>
                </a:cubicBezTo>
                <a:lnTo>
                  <a:pt x="134368" y="732"/>
                </a:lnTo>
                <a:cubicBezTo>
                  <a:pt x="134368" y="732"/>
                  <a:pt x="-5906" y="-17565"/>
                  <a:pt x="193" y="128808"/>
                </a:cubicBezTo>
                <a:lnTo>
                  <a:pt x="193" y="751989"/>
                </a:lnTo>
                <a:lnTo>
                  <a:pt x="257138" y="751989"/>
                </a:lnTo>
                <a:cubicBezTo>
                  <a:pt x="266774" y="752599"/>
                  <a:pt x="275313" y="753941"/>
                  <a:pt x="282875" y="755953"/>
                </a:cubicBezTo>
                <a:cubicBezTo>
                  <a:pt x="353683" y="774311"/>
                  <a:pt x="339412" y="845545"/>
                  <a:pt x="339412" y="845545"/>
                </a:cubicBezTo>
                <a:lnTo>
                  <a:pt x="339412" y="1031805"/>
                </a:lnTo>
                <a:lnTo>
                  <a:pt x="339290" y="1047723"/>
                </a:lnTo>
                <a:lnTo>
                  <a:pt x="1653044" y="1047723"/>
                </a:lnTo>
                <a:lnTo>
                  <a:pt x="1653044" y="1049796"/>
                </a:lnTo>
                <a:lnTo>
                  <a:pt x="1656094" y="1049796"/>
                </a:lnTo>
                <a:lnTo>
                  <a:pt x="1656094" y="442960"/>
                </a:lnTo>
                <a:cubicBezTo>
                  <a:pt x="1656094" y="442960"/>
                  <a:pt x="1631942" y="329216"/>
                  <a:pt x="1682624" y="246577"/>
                </a:cubicBezTo>
                <a:cubicBezTo>
                  <a:pt x="1682989" y="245967"/>
                  <a:pt x="1683355" y="245357"/>
                  <a:pt x="1683782" y="24474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35" name="Freeform: Shape 1534">
            <a:extLst>
              <a:ext uri="{FF2B5EF4-FFF2-40B4-BE49-F238E27FC236}">
                <a16:creationId xmlns:a16="http://schemas.microsoft.com/office/drawing/2014/main" id="{D336E25F-D246-9588-FA32-FD17173FA9C8}"/>
              </a:ext>
            </a:extLst>
          </p:cNvPr>
          <p:cNvSpPr/>
          <p:nvPr/>
        </p:nvSpPr>
        <p:spPr>
          <a:xfrm>
            <a:off x="2447994" y="4717230"/>
            <a:ext cx="1239916" cy="1344797"/>
          </a:xfrm>
          <a:custGeom>
            <a:avLst/>
            <a:gdLst>
              <a:gd name="connsiteX0" fmla="*/ 1182202 w 1239916"/>
              <a:gd name="connsiteY0" fmla="*/ 5062 h 1344797"/>
              <a:gd name="connsiteX1" fmla="*/ 1156465 w 1239916"/>
              <a:gd name="connsiteY1" fmla="*/ 1098 h 1344797"/>
              <a:gd name="connsiteX2" fmla="*/ 165157 w 1239916"/>
              <a:gd name="connsiteY2" fmla="*/ 1098 h 1344797"/>
              <a:gd name="connsiteX3" fmla="*/ 162169 w 1239916"/>
              <a:gd name="connsiteY3" fmla="*/ 0 h 1344797"/>
              <a:gd name="connsiteX4" fmla="*/ 162778 w 1239916"/>
              <a:gd name="connsiteY4" fmla="*/ 4940 h 1344797"/>
              <a:gd name="connsiteX5" fmla="*/ 161864 w 1239916"/>
              <a:gd name="connsiteY5" fmla="*/ 4940 h 1344797"/>
              <a:gd name="connsiteX6" fmla="*/ 165462 w 1239916"/>
              <a:gd name="connsiteY6" fmla="*/ 28482 h 1344797"/>
              <a:gd name="connsiteX7" fmla="*/ 168328 w 1239916"/>
              <a:gd name="connsiteY7" fmla="*/ 88433 h 1344797"/>
              <a:gd name="connsiteX8" fmla="*/ 165645 w 1239916"/>
              <a:gd name="connsiteY8" fmla="*/ 146190 h 1344797"/>
              <a:gd name="connsiteX9" fmla="*/ 86116 w 1239916"/>
              <a:gd name="connsiteY9" fmla="*/ 400573 h 1344797"/>
              <a:gd name="connsiteX10" fmla="*/ 85262 w 1239916"/>
              <a:gd name="connsiteY10" fmla="*/ 400695 h 1344797"/>
              <a:gd name="connsiteX11" fmla="*/ 0 w 1239916"/>
              <a:gd name="connsiteY11" fmla="*/ 718079 h 1344797"/>
              <a:gd name="connsiteX12" fmla="*/ 6099 w 1239916"/>
              <a:gd name="connsiteY12" fmla="*/ 805903 h 1344797"/>
              <a:gd name="connsiteX13" fmla="*/ 6099 w 1239916"/>
              <a:gd name="connsiteY13" fmla="*/ 691366 h 1344797"/>
              <a:gd name="connsiteX14" fmla="*/ 7136 w 1239916"/>
              <a:gd name="connsiteY14" fmla="*/ 691366 h 1344797"/>
              <a:gd name="connsiteX15" fmla="*/ 6099 w 1239916"/>
              <a:gd name="connsiteY15" fmla="*/ 725764 h 1344797"/>
              <a:gd name="connsiteX16" fmla="*/ 625133 w 1239916"/>
              <a:gd name="connsiteY16" fmla="*/ 1344798 h 1344797"/>
              <a:gd name="connsiteX17" fmla="*/ 1088646 w 1239916"/>
              <a:gd name="connsiteY17" fmla="*/ 1344798 h 1344797"/>
              <a:gd name="connsiteX18" fmla="*/ 1088646 w 1239916"/>
              <a:gd name="connsiteY18" fmla="*/ 582075 h 1344797"/>
              <a:gd name="connsiteX19" fmla="*/ 1158539 w 1239916"/>
              <a:gd name="connsiteY19" fmla="*/ 457170 h 1344797"/>
              <a:gd name="connsiteX20" fmla="*/ 1221113 w 1239916"/>
              <a:gd name="connsiteY20" fmla="*/ 352758 h 1344797"/>
              <a:gd name="connsiteX21" fmla="*/ 1221113 w 1239916"/>
              <a:gd name="connsiteY21" fmla="*/ 296709 h 1344797"/>
              <a:gd name="connsiteX22" fmla="*/ 1238617 w 1239916"/>
              <a:gd name="connsiteY22" fmla="*/ 296709 h 1344797"/>
              <a:gd name="connsiteX23" fmla="*/ 1238739 w 1239916"/>
              <a:gd name="connsiteY23" fmla="*/ 280791 h 1344797"/>
              <a:gd name="connsiteX24" fmla="*/ 1238739 w 1239916"/>
              <a:gd name="connsiteY24" fmla="*/ 94532 h 1344797"/>
              <a:gd name="connsiteX25" fmla="*/ 1182202 w 1239916"/>
              <a:gd name="connsiteY25" fmla="*/ 4940 h 1344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239916" h="1344797">
                <a:moveTo>
                  <a:pt x="1182202" y="5062"/>
                </a:moveTo>
                <a:cubicBezTo>
                  <a:pt x="1174640" y="3110"/>
                  <a:pt x="1166101" y="1708"/>
                  <a:pt x="1156465" y="1098"/>
                </a:cubicBezTo>
                <a:lnTo>
                  <a:pt x="165157" y="1098"/>
                </a:lnTo>
                <a:lnTo>
                  <a:pt x="162169" y="0"/>
                </a:lnTo>
                <a:cubicBezTo>
                  <a:pt x="162413" y="1647"/>
                  <a:pt x="162535" y="3293"/>
                  <a:pt x="162778" y="4940"/>
                </a:cubicBezTo>
                <a:lnTo>
                  <a:pt x="161864" y="4940"/>
                </a:lnTo>
                <a:cubicBezTo>
                  <a:pt x="163205" y="12747"/>
                  <a:pt x="164425" y="20614"/>
                  <a:pt x="165462" y="28482"/>
                </a:cubicBezTo>
                <a:cubicBezTo>
                  <a:pt x="167292" y="48242"/>
                  <a:pt x="168328" y="68185"/>
                  <a:pt x="168328" y="88433"/>
                </a:cubicBezTo>
                <a:cubicBezTo>
                  <a:pt x="168328" y="108682"/>
                  <a:pt x="167414" y="127161"/>
                  <a:pt x="165645" y="146190"/>
                </a:cubicBezTo>
                <a:cubicBezTo>
                  <a:pt x="157351" y="238038"/>
                  <a:pt x="129418" y="324276"/>
                  <a:pt x="86116" y="400573"/>
                </a:cubicBezTo>
                <a:lnTo>
                  <a:pt x="85262" y="400695"/>
                </a:lnTo>
                <a:cubicBezTo>
                  <a:pt x="31043" y="494007"/>
                  <a:pt x="0" y="602445"/>
                  <a:pt x="0" y="718079"/>
                </a:cubicBezTo>
                <a:cubicBezTo>
                  <a:pt x="0" y="747903"/>
                  <a:pt x="2135" y="777238"/>
                  <a:pt x="6099" y="805903"/>
                </a:cubicBezTo>
                <a:lnTo>
                  <a:pt x="6099" y="691366"/>
                </a:lnTo>
                <a:lnTo>
                  <a:pt x="7136" y="691366"/>
                </a:lnTo>
                <a:cubicBezTo>
                  <a:pt x="6526" y="702771"/>
                  <a:pt x="6099" y="714237"/>
                  <a:pt x="6099" y="725764"/>
                </a:cubicBezTo>
                <a:cubicBezTo>
                  <a:pt x="6099" y="1067666"/>
                  <a:pt x="283231" y="1344798"/>
                  <a:pt x="625133" y="1344798"/>
                </a:cubicBezTo>
                <a:lnTo>
                  <a:pt x="1088646" y="1344798"/>
                </a:lnTo>
                <a:lnTo>
                  <a:pt x="1088646" y="582075"/>
                </a:lnTo>
                <a:cubicBezTo>
                  <a:pt x="1092427" y="455219"/>
                  <a:pt x="1158539" y="457170"/>
                  <a:pt x="1158539" y="457170"/>
                </a:cubicBezTo>
                <a:cubicBezTo>
                  <a:pt x="1232213" y="457170"/>
                  <a:pt x="1221113" y="352758"/>
                  <a:pt x="1221113" y="352758"/>
                </a:cubicBezTo>
                <a:lnTo>
                  <a:pt x="1221113" y="296709"/>
                </a:lnTo>
                <a:lnTo>
                  <a:pt x="1238617" y="296709"/>
                </a:lnTo>
                <a:lnTo>
                  <a:pt x="1238739" y="280791"/>
                </a:lnTo>
                <a:lnTo>
                  <a:pt x="1238739" y="94532"/>
                </a:lnTo>
                <a:cubicBezTo>
                  <a:pt x="1238739" y="94532"/>
                  <a:pt x="1253010" y="23298"/>
                  <a:pt x="1182202" y="4940"/>
                </a:cubicBezTo>
                <a:close/>
              </a:path>
            </a:pathLst>
          </a:custGeom>
          <a:solidFill>
            <a:srgbClr val="3E69F4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37" name="Freeform: Shape 1536">
            <a:extLst>
              <a:ext uri="{FF2B5EF4-FFF2-40B4-BE49-F238E27FC236}">
                <a16:creationId xmlns:a16="http://schemas.microsoft.com/office/drawing/2014/main" id="{995C8574-AD80-296D-6A53-72ABD371443B}"/>
              </a:ext>
            </a:extLst>
          </p:cNvPr>
          <p:cNvSpPr/>
          <p:nvPr/>
        </p:nvSpPr>
        <p:spPr>
          <a:xfrm>
            <a:off x="3536701" y="5014000"/>
            <a:ext cx="1463725" cy="1053577"/>
          </a:xfrm>
          <a:custGeom>
            <a:avLst/>
            <a:gdLst>
              <a:gd name="connsiteX0" fmla="*/ 1443050 w 1463725"/>
              <a:gd name="connsiteY0" fmla="*/ 0 h 1053577"/>
              <a:gd name="connsiteX1" fmla="*/ 149971 w 1463725"/>
              <a:gd name="connsiteY1" fmla="*/ 0 h 1053577"/>
              <a:gd name="connsiteX2" fmla="*/ 149971 w 1463725"/>
              <a:gd name="connsiteY2" fmla="*/ 2074 h 1053577"/>
              <a:gd name="connsiteX3" fmla="*/ 132467 w 1463725"/>
              <a:gd name="connsiteY3" fmla="*/ 2074 h 1053577"/>
              <a:gd name="connsiteX4" fmla="*/ 132467 w 1463725"/>
              <a:gd name="connsiteY4" fmla="*/ 56049 h 1053577"/>
              <a:gd name="connsiteX5" fmla="*/ 69893 w 1463725"/>
              <a:gd name="connsiteY5" fmla="*/ 160461 h 1053577"/>
              <a:gd name="connsiteX6" fmla="*/ 0 w 1463725"/>
              <a:gd name="connsiteY6" fmla="*/ 285366 h 1053577"/>
              <a:gd name="connsiteX7" fmla="*/ 0 w 1463725"/>
              <a:gd name="connsiteY7" fmla="*/ 1048089 h 1053577"/>
              <a:gd name="connsiteX8" fmla="*/ 142713 w 1463725"/>
              <a:gd name="connsiteY8" fmla="*/ 1048089 h 1053577"/>
              <a:gd name="connsiteX9" fmla="*/ 142713 w 1463725"/>
              <a:gd name="connsiteY9" fmla="*/ 1053577 h 1053577"/>
              <a:gd name="connsiteX10" fmla="*/ 1463725 w 1463725"/>
              <a:gd name="connsiteY10" fmla="*/ 1053577 h 1053577"/>
              <a:gd name="connsiteX11" fmla="*/ 1463725 w 1463725"/>
              <a:gd name="connsiteY11" fmla="*/ 61 h 1053577"/>
              <a:gd name="connsiteX12" fmla="*/ 1443111 w 1463725"/>
              <a:gd name="connsiteY12" fmla="*/ 61 h 10535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63725" h="1053577">
                <a:moveTo>
                  <a:pt x="1443050" y="0"/>
                </a:moveTo>
                <a:lnTo>
                  <a:pt x="149971" y="0"/>
                </a:lnTo>
                <a:lnTo>
                  <a:pt x="149971" y="2074"/>
                </a:lnTo>
                <a:lnTo>
                  <a:pt x="132467" y="2074"/>
                </a:lnTo>
                <a:lnTo>
                  <a:pt x="132467" y="56049"/>
                </a:lnTo>
                <a:cubicBezTo>
                  <a:pt x="132467" y="56049"/>
                  <a:pt x="143567" y="160461"/>
                  <a:pt x="69893" y="160461"/>
                </a:cubicBezTo>
                <a:cubicBezTo>
                  <a:pt x="69893" y="160461"/>
                  <a:pt x="3781" y="158509"/>
                  <a:pt x="0" y="285366"/>
                </a:cubicBezTo>
                <a:lnTo>
                  <a:pt x="0" y="1048089"/>
                </a:lnTo>
                <a:lnTo>
                  <a:pt x="142713" y="1048089"/>
                </a:lnTo>
                <a:lnTo>
                  <a:pt x="142713" y="1053577"/>
                </a:lnTo>
                <a:cubicBezTo>
                  <a:pt x="142713" y="1053577"/>
                  <a:pt x="1463725" y="1053577"/>
                  <a:pt x="1463725" y="1053577"/>
                </a:cubicBezTo>
                <a:lnTo>
                  <a:pt x="1463725" y="61"/>
                </a:lnTo>
                <a:lnTo>
                  <a:pt x="1443111" y="61"/>
                </a:lnTo>
                <a:close/>
              </a:path>
            </a:pathLst>
          </a:custGeom>
          <a:solidFill>
            <a:srgbClr val="6688F6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39" name="Freeform: Shape 1538">
            <a:extLst>
              <a:ext uri="{FF2B5EF4-FFF2-40B4-BE49-F238E27FC236}">
                <a16:creationId xmlns:a16="http://schemas.microsoft.com/office/drawing/2014/main" id="{76871E70-5522-D1E3-B0D8-33B499CA200A}"/>
              </a:ext>
            </a:extLst>
          </p:cNvPr>
          <p:cNvSpPr/>
          <p:nvPr/>
        </p:nvSpPr>
        <p:spPr>
          <a:xfrm>
            <a:off x="5189430" y="2167908"/>
            <a:ext cx="2140698" cy="988014"/>
          </a:xfrm>
          <a:custGeom>
            <a:avLst/>
            <a:gdLst>
              <a:gd name="connsiteX0" fmla="*/ 0 w 2140698"/>
              <a:gd name="connsiteY0" fmla="*/ 0 h 988014"/>
              <a:gd name="connsiteX1" fmla="*/ 0 w 2140698"/>
              <a:gd name="connsiteY1" fmla="*/ 420821 h 988014"/>
              <a:gd name="connsiteX2" fmla="*/ 79285 w 2140698"/>
              <a:gd name="connsiteY2" fmla="*/ 506205 h 988014"/>
              <a:gd name="connsiteX3" fmla="*/ 554996 w 2140698"/>
              <a:gd name="connsiteY3" fmla="*/ 506205 h 988014"/>
              <a:gd name="connsiteX4" fmla="*/ 725764 w 2140698"/>
              <a:gd name="connsiteY4" fmla="*/ 676973 h 988014"/>
              <a:gd name="connsiteX5" fmla="*/ 725764 w 2140698"/>
              <a:gd name="connsiteY5" fmla="*/ 811148 h 988014"/>
              <a:gd name="connsiteX6" fmla="*/ 774555 w 2140698"/>
              <a:gd name="connsiteY6" fmla="*/ 957521 h 988014"/>
              <a:gd name="connsiteX7" fmla="*/ 896532 w 2140698"/>
              <a:gd name="connsiteY7" fmla="*/ 988015 h 988014"/>
              <a:gd name="connsiteX8" fmla="*/ 1768668 w 2140698"/>
              <a:gd name="connsiteY8" fmla="*/ 988015 h 988014"/>
              <a:gd name="connsiteX9" fmla="*/ 1854052 w 2140698"/>
              <a:gd name="connsiteY9" fmla="*/ 927026 h 988014"/>
              <a:gd name="connsiteX10" fmla="*/ 1854052 w 2140698"/>
              <a:gd name="connsiteY10" fmla="*/ 634281 h 988014"/>
              <a:gd name="connsiteX11" fmla="*/ 1896744 w 2140698"/>
              <a:gd name="connsiteY11" fmla="*/ 536699 h 988014"/>
              <a:gd name="connsiteX12" fmla="*/ 2134356 w 2140698"/>
              <a:gd name="connsiteY12" fmla="*/ 273412 h 988014"/>
              <a:gd name="connsiteX13" fmla="*/ 2134600 w 2140698"/>
              <a:gd name="connsiteY13" fmla="*/ 268350 h 988014"/>
              <a:gd name="connsiteX14" fmla="*/ 2134600 w 2140698"/>
              <a:gd name="connsiteY14" fmla="*/ 3049 h 988014"/>
              <a:gd name="connsiteX15" fmla="*/ 2134782 w 2140698"/>
              <a:gd name="connsiteY15" fmla="*/ 3049 h 988014"/>
              <a:gd name="connsiteX16" fmla="*/ 2140699 w 2140698"/>
              <a:gd name="connsiteY16" fmla="*/ 3049 h 988014"/>
              <a:gd name="connsiteX17" fmla="*/ 2140699 w 2140698"/>
              <a:gd name="connsiteY17" fmla="*/ 61 h 988014"/>
              <a:gd name="connsiteX18" fmla="*/ 0 w 2140698"/>
              <a:gd name="connsiteY18" fmla="*/ 61 h 988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140698" h="988014">
                <a:moveTo>
                  <a:pt x="0" y="0"/>
                </a:moveTo>
                <a:lnTo>
                  <a:pt x="0" y="420821"/>
                </a:lnTo>
                <a:cubicBezTo>
                  <a:pt x="0" y="506205"/>
                  <a:pt x="79285" y="506205"/>
                  <a:pt x="79285" y="506205"/>
                </a:cubicBezTo>
                <a:lnTo>
                  <a:pt x="554996" y="506205"/>
                </a:lnTo>
                <a:cubicBezTo>
                  <a:pt x="737962" y="512304"/>
                  <a:pt x="725764" y="676973"/>
                  <a:pt x="725764" y="676973"/>
                </a:cubicBezTo>
                <a:lnTo>
                  <a:pt x="725764" y="811148"/>
                </a:lnTo>
                <a:cubicBezTo>
                  <a:pt x="725764" y="908730"/>
                  <a:pt x="774555" y="957521"/>
                  <a:pt x="774555" y="957521"/>
                </a:cubicBezTo>
                <a:cubicBezTo>
                  <a:pt x="774555" y="957521"/>
                  <a:pt x="786752" y="988015"/>
                  <a:pt x="896532" y="988015"/>
                </a:cubicBezTo>
                <a:lnTo>
                  <a:pt x="1768668" y="988015"/>
                </a:lnTo>
                <a:cubicBezTo>
                  <a:pt x="1768668" y="988015"/>
                  <a:pt x="1847953" y="981916"/>
                  <a:pt x="1854052" y="927026"/>
                </a:cubicBezTo>
                <a:cubicBezTo>
                  <a:pt x="1860151" y="872137"/>
                  <a:pt x="1854052" y="634281"/>
                  <a:pt x="1854052" y="634281"/>
                </a:cubicBezTo>
                <a:cubicBezTo>
                  <a:pt x="1854052" y="634281"/>
                  <a:pt x="1841854" y="536699"/>
                  <a:pt x="1896744" y="536699"/>
                </a:cubicBezTo>
                <a:cubicBezTo>
                  <a:pt x="1951634" y="536699"/>
                  <a:pt x="2120267" y="542737"/>
                  <a:pt x="2134356" y="273412"/>
                </a:cubicBezTo>
                <a:cubicBezTo>
                  <a:pt x="2134417" y="271704"/>
                  <a:pt x="2134539" y="270057"/>
                  <a:pt x="2134600" y="268350"/>
                </a:cubicBezTo>
                <a:lnTo>
                  <a:pt x="2134600" y="3049"/>
                </a:lnTo>
                <a:cubicBezTo>
                  <a:pt x="2134600" y="3049"/>
                  <a:pt x="2134782" y="3049"/>
                  <a:pt x="2134782" y="3049"/>
                </a:cubicBezTo>
                <a:cubicBezTo>
                  <a:pt x="2135332" y="3049"/>
                  <a:pt x="2137954" y="2988"/>
                  <a:pt x="2140699" y="3049"/>
                </a:cubicBezTo>
                <a:lnTo>
                  <a:pt x="2140699" y="61"/>
                </a:lnTo>
                <a:lnTo>
                  <a:pt x="0" y="61"/>
                </a:lnTo>
                <a:close/>
              </a:path>
            </a:pathLst>
          </a:custGeom>
          <a:solidFill>
            <a:srgbClr val="1F9CD8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46" name="Freeform: Shape 1545">
            <a:extLst>
              <a:ext uri="{FF2B5EF4-FFF2-40B4-BE49-F238E27FC236}">
                <a16:creationId xmlns:a16="http://schemas.microsoft.com/office/drawing/2014/main" id="{0A57AE10-0321-5CFD-EC99-623B47D35E01}"/>
              </a:ext>
            </a:extLst>
          </p:cNvPr>
          <p:cNvSpPr/>
          <p:nvPr/>
        </p:nvSpPr>
        <p:spPr>
          <a:xfrm>
            <a:off x="5589812" y="2170957"/>
            <a:ext cx="2737417" cy="2165094"/>
          </a:xfrm>
          <a:custGeom>
            <a:avLst/>
            <a:gdLst>
              <a:gd name="connsiteX0" fmla="*/ 1758613 w 2737417"/>
              <a:gd name="connsiteY0" fmla="*/ 0 h 2165094"/>
              <a:gd name="connsiteX1" fmla="*/ 1734400 w 2737417"/>
              <a:gd name="connsiteY1" fmla="*/ 0 h 2165094"/>
              <a:gd name="connsiteX2" fmla="*/ 1734217 w 2737417"/>
              <a:gd name="connsiteY2" fmla="*/ 0 h 2165094"/>
              <a:gd name="connsiteX3" fmla="*/ 1734217 w 2737417"/>
              <a:gd name="connsiteY3" fmla="*/ 265300 h 2165094"/>
              <a:gd name="connsiteX4" fmla="*/ 1733973 w 2737417"/>
              <a:gd name="connsiteY4" fmla="*/ 270362 h 2165094"/>
              <a:gd name="connsiteX5" fmla="*/ 1496361 w 2737417"/>
              <a:gd name="connsiteY5" fmla="*/ 533650 h 2165094"/>
              <a:gd name="connsiteX6" fmla="*/ 1453669 w 2737417"/>
              <a:gd name="connsiteY6" fmla="*/ 631232 h 2165094"/>
              <a:gd name="connsiteX7" fmla="*/ 1453669 w 2737417"/>
              <a:gd name="connsiteY7" fmla="*/ 923977 h 2165094"/>
              <a:gd name="connsiteX8" fmla="*/ 1368285 w 2737417"/>
              <a:gd name="connsiteY8" fmla="*/ 984965 h 2165094"/>
              <a:gd name="connsiteX9" fmla="*/ 496149 w 2737417"/>
              <a:gd name="connsiteY9" fmla="*/ 984965 h 2165094"/>
              <a:gd name="connsiteX10" fmla="*/ 374172 w 2737417"/>
              <a:gd name="connsiteY10" fmla="*/ 954471 h 2165094"/>
              <a:gd name="connsiteX11" fmla="*/ 93625 w 2737417"/>
              <a:gd name="connsiteY11" fmla="*/ 954471 h 2165094"/>
              <a:gd name="connsiteX12" fmla="*/ 2142 w 2737417"/>
              <a:gd name="connsiteY12" fmla="*/ 1149635 h 2165094"/>
              <a:gd name="connsiteX13" fmla="*/ 2142 w 2737417"/>
              <a:gd name="connsiteY13" fmla="*/ 2165094 h 2165094"/>
              <a:gd name="connsiteX14" fmla="*/ 1297966 w 2737417"/>
              <a:gd name="connsiteY14" fmla="*/ 2165094 h 2165094"/>
              <a:gd name="connsiteX15" fmla="*/ 1303516 w 2737417"/>
              <a:gd name="connsiteY15" fmla="*/ 2158995 h 2165094"/>
              <a:gd name="connsiteX16" fmla="*/ 1362187 w 2737417"/>
              <a:gd name="connsiteY16" fmla="*/ 2158995 h 2165094"/>
              <a:gd name="connsiteX17" fmla="*/ 1364382 w 2737417"/>
              <a:gd name="connsiteY17" fmla="*/ 2158873 h 2165094"/>
              <a:gd name="connsiteX18" fmla="*/ 1362797 w 2737417"/>
              <a:gd name="connsiteY18" fmla="*/ 2160520 h 2165094"/>
              <a:gd name="connsiteX19" fmla="*/ 1372555 w 2737417"/>
              <a:gd name="connsiteY19" fmla="*/ 2150884 h 2165094"/>
              <a:gd name="connsiteX20" fmla="*/ 1376336 w 2737417"/>
              <a:gd name="connsiteY20" fmla="*/ 2147286 h 2165094"/>
              <a:gd name="connsiteX21" fmla="*/ 1391095 w 2737417"/>
              <a:gd name="connsiteY21" fmla="*/ 2133624 h 2165094"/>
              <a:gd name="connsiteX22" fmla="*/ 1750867 w 2737417"/>
              <a:gd name="connsiteY22" fmla="*/ 1981702 h 2165094"/>
              <a:gd name="connsiteX23" fmla="*/ 1758552 w 2737417"/>
              <a:gd name="connsiteY23" fmla="*/ 1979140 h 2165094"/>
              <a:gd name="connsiteX24" fmla="*/ 2737052 w 2737417"/>
              <a:gd name="connsiteY24" fmla="*/ 1016496 h 2165094"/>
              <a:gd name="connsiteX25" fmla="*/ 2737418 w 2737417"/>
              <a:gd name="connsiteY25" fmla="*/ 989600 h 2165094"/>
              <a:gd name="connsiteX26" fmla="*/ 1758552 w 2737417"/>
              <a:gd name="connsiteY26" fmla="*/ 61 h 2165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737417" h="2165094">
                <a:moveTo>
                  <a:pt x="1758613" y="0"/>
                </a:moveTo>
                <a:lnTo>
                  <a:pt x="1734400" y="0"/>
                </a:lnTo>
                <a:cubicBezTo>
                  <a:pt x="1734400" y="0"/>
                  <a:pt x="1734217" y="0"/>
                  <a:pt x="1734217" y="0"/>
                </a:cubicBezTo>
                <a:lnTo>
                  <a:pt x="1734217" y="265300"/>
                </a:lnTo>
                <a:cubicBezTo>
                  <a:pt x="1734156" y="267008"/>
                  <a:pt x="1734034" y="268716"/>
                  <a:pt x="1733973" y="270362"/>
                </a:cubicBezTo>
                <a:cubicBezTo>
                  <a:pt x="1719885" y="539688"/>
                  <a:pt x="1550885" y="533650"/>
                  <a:pt x="1496361" y="533650"/>
                </a:cubicBezTo>
                <a:cubicBezTo>
                  <a:pt x="1441838" y="533650"/>
                  <a:pt x="1453669" y="631232"/>
                  <a:pt x="1453669" y="631232"/>
                </a:cubicBezTo>
                <a:cubicBezTo>
                  <a:pt x="1453669" y="631232"/>
                  <a:pt x="1459768" y="869087"/>
                  <a:pt x="1453669" y="923977"/>
                </a:cubicBezTo>
                <a:cubicBezTo>
                  <a:pt x="1447571" y="978867"/>
                  <a:pt x="1368285" y="984965"/>
                  <a:pt x="1368285" y="984965"/>
                </a:cubicBezTo>
                <a:lnTo>
                  <a:pt x="496149" y="984965"/>
                </a:lnTo>
                <a:cubicBezTo>
                  <a:pt x="386370" y="984965"/>
                  <a:pt x="374172" y="954471"/>
                  <a:pt x="374172" y="954471"/>
                </a:cubicBezTo>
                <a:lnTo>
                  <a:pt x="93625" y="954471"/>
                </a:lnTo>
                <a:cubicBezTo>
                  <a:pt x="-22254" y="954471"/>
                  <a:pt x="2142" y="1149635"/>
                  <a:pt x="2142" y="1149635"/>
                </a:cubicBezTo>
                <a:lnTo>
                  <a:pt x="2142" y="2165094"/>
                </a:lnTo>
                <a:lnTo>
                  <a:pt x="1297966" y="2165094"/>
                </a:lnTo>
                <a:cubicBezTo>
                  <a:pt x="1299795" y="2163021"/>
                  <a:pt x="1301686" y="2161008"/>
                  <a:pt x="1303516" y="2158995"/>
                </a:cubicBezTo>
                <a:lnTo>
                  <a:pt x="1362187" y="2158995"/>
                </a:lnTo>
                <a:lnTo>
                  <a:pt x="1364382" y="2158873"/>
                </a:lnTo>
                <a:cubicBezTo>
                  <a:pt x="1363833" y="2159422"/>
                  <a:pt x="1363345" y="2159971"/>
                  <a:pt x="1362797" y="2160520"/>
                </a:cubicBezTo>
                <a:cubicBezTo>
                  <a:pt x="1366029" y="2157288"/>
                  <a:pt x="1369261" y="2154055"/>
                  <a:pt x="1372555" y="2150884"/>
                </a:cubicBezTo>
                <a:cubicBezTo>
                  <a:pt x="1373836" y="2149664"/>
                  <a:pt x="1375055" y="2148444"/>
                  <a:pt x="1376336" y="2147286"/>
                </a:cubicBezTo>
                <a:cubicBezTo>
                  <a:pt x="1381154" y="2142651"/>
                  <a:pt x="1386094" y="2138076"/>
                  <a:pt x="1391095" y="2133624"/>
                </a:cubicBezTo>
                <a:cubicBezTo>
                  <a:pt x="1495203" y="2040799"/>
                  <a:pt x="1622364" y="1990545"/>
                  <a:pt x="1750867" y="1981702"/>
                </a:cubicBezTo>
                <a:lnTo>
                  <a:pt x="1758552" y="1979140"/>
                </a:lnTo>
                <a:cubicBezTo>
                  <a:pt x="2290249" y="1979140"/>
                  <a:pt x="2722964" y="1550573"/>
                  <a:pt x="2737052" y="1016496"/>
                </a:cubicBezTo>
                <a:cubicBezTo>
                  <a:pt x="2737296" y="1007592"/>
                  <a:pt x="2737418" y="998627"/>
                  <a:pt x="2737418" y="989600"/>
                </a:cubicBezTo>
                <a:cubicBezTo>
                  <a:pt x="2737418" y="443082"/>
                  <a:pt x="2299154" y="61"/>
                  <a:pt x="1758552" y="61"/>
                </a:cubicBezTo>
                <a:close/>
              </a:path>
            </a:pathLst>
          </a:custGeom>
          <a:solidFill>
            <a:srgbClr val="57CF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64" name="TextBox 1563">
            <a:extLst>
              <a:ext uri="{FF2B5EF4-FFF2-40B4-BE49-F238E27FC236}">
                <a16:creationId xmlns:a16="http://schemas.microsoft.com/office/drawing/2014/main" id="{1F4B3BC9-7EBD-A962-475E-57CDD628B5AB}"/>
              </a:ext>
            </a:extLst>
          </p:cNvPr>
          <p:cNvSpPr txBox="1"/>
          <p:nvPr/>
        </p:nvSpPr>
        <p:spPr>
          <a:xfrm>
            <a:off x="728341" y="2005064"/>
            <a:ext cx="16890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Integration</a:t>
            </a:r>
          </a:p>
        </p:txBody>
      </p:sp>
      <p:pic>
        <p:nvPicPr>
          <p:cNvPr id="1565" name="Picture 8">
            <a:extLst>
              <a:ext uri="{FF2B5EF4-FFF2-40B4-BE49-F238E27FC236}">
                <a16:creationId xmlns:a16="http://schemas.microsoft.com/office/drawing/2014/main" id="{E148AAF7-BFD6-7DFD-AAE8-6C999E6605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1730" y="5541269"/>
            <a:ext cx="807864" cy="177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67" name="Picture 12" descr="Apache HBase – Apache HBase™ Home">
            <a:extLst>
              <a:ext uri="{FF2B5EF4-FFF2-40B4-BE49-F238E27FC236}">
                <a16:creationId xmlns:a16="http://schemas.microsoft.com/office/drawing/2014/main" id="{927C3960-439D-B93A-DDE9-DEBFA8C681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9273" y="5182171"/>
            <a:ext cx="750127" cy="19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68" name="Picture 32">
            <a:extLst>
              <a:ext uri="{FF2B5EF4-FFF2-40B4-BE49-F238E27FC236}">
                <a16:creationId xmlns:a16="http://schemas.microsoft.com/office/drawing/2014/main" id="{F168EA8B-5EF4-F0F5-7000-B52C2F4CB8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2756" y="5123009"/>
            <a:ext cx="281980" cy="284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69" name="Picture 16">
            <a:extLst>
              <a:ext uri="{FF2B5EF4-FFF2-40B4-BE49-F238E27FC236}">
                <a16:creationId xmlns:a16="http://schemas.microsoft.com/office/drawing/2014/main" id="{C6D50E3E-BD53-3B9E-EF02-A13372AD54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2259" y="5807205"/>
            <a:ext cx="856764" cy="230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70" name="Picture 18" descr="MQTT to Cassandra in Real-Time">
            <a:extLst>
              <a:ext uri="{FF2B5EF4-FFF2-40B4-BE49-F238E27FC236}">
                <a16:creationId xmlns:a16="http://schemas.microsoft.com/office/drawing/2014/main" id="{1758A2C9-AEE9-A084-97E3-452A998775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0677" y="5461840"/>
            <a:ext cx="459927" cy="344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78" name="Google Shape;83;p13">
            <a:extLst>
              <a:ext uri="{FF2B5EF4-FFF2-40B4-BE49-F238E27FC236}">
                <a16:creationId xmlns:a16="http://schemas.microsoft.com/office/drawing/2014/main" id="{D74984E1-CD5F-8203-F0FA-FB3CD514093D}"/>
              </a:ext>
            </a:extLst>
          </p:cNvPr>
          <p:cNvPicPr preferRelativeResize="0"/>
          <p:nvPr/>
        </p:nvPicPr>
        <p:blipFill>
          <a:blip r:embed="rId22">
            <a:alphaModFix/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767458" y="4800910"/>
            <a:ext cx="506188" cy="262797"/>
          </a:xfrm>
          <a:prstGeom prst="rect">
            <a:avLst/>
          </a:prstGeom>
          <a:noFill/>
          <a:ln>
            <a:noFill/>
          </a:ln>
        </p:spPr>
      </p:pic>
      <p:pic>
        <p:nvPicPr>
          <p:cNvPr id="1579" name="Google Shape;85;p13">
            <a:extLst>
              <a:ext uri="{FF2B5EF4-FFF2-40B4-BE49-F238E27FC236}">
                <a16:creationId xmlns:a16="http://schemas.microsoft.com/office/drawing/2014/main" id="{AFE7C06E-469B-A37E-EF8F-5520C1A5C220}"/>
              </a:ext>
            </a:extLst>
          </p:cNvPr>
          <p:cNvPicPr preferRelativeResize="0"/>
          <p:nvPr/>
        </p:nvPicPr>
        <p:blipFill>
          <a:blip r:embed="rId24">
            <a:alphaModFix/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saturation sat="0"/>
                    </a14:imgEffect>
                    <a14:imgEffect>
                      <a14:brightnessContrast bright="69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673141" y="5776315"/>
            <a:ext cx="862910" cy="22331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582" name="Connector: Elbow 1581">
            <a:extLst>
              <a:ext uri="{FF2B5EF4-FFF2-40B4-BE49-F238E27FC236}">
                <a16:creationId xmlns:a16="http://schemas.microsoft.com/office/drawing/2014/main" id="{C39D87FE-51EE-C18E-C3F9-98B06D1F5030}"/>
              </a:ext>
            </a:extLst>
          </p:cNvPr>
          <p:cNvCxnSpPr>
            <a:cxnSpLocks/>
          </p:cNvCxnSpPr>
          <p:nvPr/>
        </p:nvCxnSpPr>
        <p:spPr>
          <a:xfrm rot="10800000">
            <a:off x="788868" y="2289492"/>
            <a:ext cx="1280160" cy="508518"/>
          </a:xfrm>
          <a:prstGeom prst="bentConnector3">
            <a:avLst>
              <a:gd name="adj1" fmla="val 18573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89" name="Google Shape;78;p13">
            <a:extLst>
              <a:ext uri="{FF2B5EF4-FFF2-40B4-BE49-F238E27FC236}">
                <a16:creationId xmlns:a16="http://schemas.microsoft.com/office/drawing/2014/main" id="{E30A839E-4B45-8264-59E3-BFA0D89134E9}"/>
              </a:ext>
            </a:extLst>
          </p:cNvPr>
          <p:cNvPicPr preferRelativeResize="0"/>
          <p:nvPr/>
        </p:nvPicPr>
        <p:blipFill>
          <a:blip r:embed="rId26">
            <a:alphaModFix/>
            <a:extLst>
              <a:ext uri="{BEBA8EAE-BF5A-486C-A8C5-ECC9F3942E4B}">
                <a14:imgProps xmlns:a14="http://schemas.microsoft.com/office/drawing/2010/main">
                  <a14:imgLayer r:embed="rId27">
                    <a14:imgEffect>
                      <a14:backgroundRemoval t="7813" b="92795" l="4004" r="96143">
                        <a14:foregroundMark x1="50146" y1="7899" x2="50146" y2="7899"/>
                        <a14:foregroundMark x1="46240" y1="49045" x2="46240" y2="49045"/>
                        <a14:foregroundMark x1="45264" y1="49045" x2="45264" y2="49045"/>
                        <a14:foregroundMark x1="45264" y1="46701" x2="45264" y2="46701"/>
                        <a14:foregroundMark x1="46240" y1="50781" x2="46240" y2="50781"/>
                        <a14:foregroundMark x1="43945" y1="48438" x2="43945" y2="48438"/>
                        <a14:foregroundMark x1="43799" y1="47569" x2="43799" y2="47569"/>
                        <a14:foregroundMark x1="44922" y1="50260" x2="44922" y2="50260"/>
                        <a14:foregroundMark x1="46729" y1="51389" x2="46729" y2="51389"/>
                        <a14:foregroundMark x1="44287" y1="79514" x2="44287" y2="79514"/>
                        <a14:foregroundMark x1="43945" y1="85851" x2="43945" y2="85590"/>
                        <a14:foregroundMark x1="43945" y1="85590" x2="43945" y2="85590"/>
                        <a14:foregroundMark x1="43945" y1="85590" x2="43945" y2="85590"/>
                        <a14:foregroundMark x1="43945" y1="85590" x2="43945" y2="85590"/>
                        <a14:foregroundMark x1="43945" y1="85590" x2="43945" y2="85590"/>
                        <a14:foregroundMark x1="43945" y1="85590" x2="43945" y2="85590"/>
                        <a14:foregroundMark x1="43945" y1="85590" x2="43945" y2="85590"/>
                        <a14:foregroundMark x1="43945" y1="85590" x2="43945" y2="85590"/>
                        <a14:foregroundMark x1="53418" y1="81250" x2="53076" y2="89670"/>
                        <a14:foregroundMark x1="7275" y1="84462" x2="90918" y2="89063"/>
                        <a14:foregroundMark x1="96143" y1="89670" x2="4004" y2="84722"/>
                        <a14:foregroundMark x1="93359" y1="80382" x2="94189" y2="92795"/>
                        <a14:foregroundMark x1="49227" y1="64656" x2="50000" y2="66493"/>
                        <a14:foregroundMark x1="45364" y1="55469" x2="45775" y2="56446"/>
                        <a14:foregroundMark x1="44633" y1="53733" x2="45364" y2="55469"/>
                        <a14:foregroundMark x1="39121" y1="40625" x2="40073" y2="42888"/>
                        <a14:foregroundMark x1="43945" y1="47917" x2="47559" y2="51389"/>
                        <a14:foregroundMark x1="43507" y1="46960" x2="48532" y2="53121"/>
                        <a14:foregroundMark x1="42514" y1="45743" x2="43018" y2="46360"/>
                        <a14:foregroundMark x1="58496" y1="62413" x2="58496" y2="62413"/>
                        <a14:foregroundMark x1="58496" y1="62066" x2="58496" y2="61806"/>
                        <a14:foregroundMark x1="58643" y1="61198" x2="58301" y2="63281"/>
                        <a14:foregroundMark x1="49365" y1="19184" x2="49365" y2="19184"/>
                        <a14:foregroundMark x1="49512" y1="17448" x2="49512" y2="17448"/>
                        <a14:foregroundMark x1="49512" y1="18924" x2="49512" y2="18924"/>
                        <a14:foregroundMark x1="49854" y1="19531" x2="49512" y2="19184"/>
                        <a14:foregroundMark x1="49512" y1="20660" x2="49365" y2="17795"/>
                        <a14:foregroundMark x1="49512" y1="18924" x2="49512" y2="18924"/>
                        <a14:foregroundMark x1="49023" y1="18663" x2="49365" y2="19792"/>
                        <a14:foregroundMark x1="41992" y1="43576" x2="41992" y2="43576"/>
                        <a14:foregroundMark x1="41846" y1="43837" x2="41846" y2="43837"/>
                        <a14:foregroundMark x1="42188" y1="43837" x2="42188" y2="43837"/>
                        <a14:foregroundMark x1="42090" y1="44271" x2="42090" y2="44271"/>
                        <a14:foregroundMark x1="41992" y1="44271" x2="41992" y2="44271"/>
                        <a14:foregroundMark x1="41895" y1="44097" x2="42090" y2="44271"/>
                        <a14:foregroundMark x1="43311" y1="47743" x2="43311" y2="47743"/>
                        <a14:foregroundMark x1="49121" y1="51823" x2="50244" y2="51215"/>
                        <a14:backgroundMark x1="61914" y1="34028" x2="61914" y2="34028"/>
                        <a14:backgroundMark x1="56055" y1="18924" x2="56055" y2="18316"/>
                        <a14:backgroundMark x1="56055" y1="18316" x2="56689" y2="20660"/>
                        <a14:backgroundMark x1="60596" y1="33420" x2="61230" y2="33420"/>
                        <a14:backgroundMark x1="58301" y1="50781" x2="58301" y2="50781"/>
                        <a14:backgroundMark x1="58301" y1="50781" x2="58301" y2="50781"/>
                        <a14:backgroundMark x1="58301" y1="50781" x2="58301" y2="50781"/>
                        <a14:backgroundMark x1="50146" y1="60677" x2="46240" y2="54253"/>
                        <a14:backgroundMark x1="37451" y1="39727" x2="37451" y2="42708"/>
                        <a14:backgroundMark x1="37451" y1="32292" x2="37451" y2="39576"/>
                        <a14:backgroundMark x1="36475" y1="39236" x2="37994" y2="41018"/>
                        <a14:backgroundMark x1="44629" y1="18316" x2="44629" y2="18316"/>
                        <a14:backgroundMark x1="55225" y1="21788" x2="57031" y2="20920"/>
                        <a14:backgroundMark x1="62061" y1="35156" x2="62207" y2="26476"/>
                        <a14:backgroundMark x1="59961" y1="52865" x2="57178" y2="57465"/>
                        <a14:backgroundMark x1="54395" y1="61806" x2="50000" y2="59809"/>
                        <a14:backgroundMark x1="48193" y1="55990" x2="54736" y2="60677"/>
                        <a14:backgroundMark x1="35303" y1="45313" x2="41504" y2="55990"/>
                        <a14:backgroundMark x1="38428" y1="28472" x2="39063" y2="37500"/>
                        <a14:backgroundMark x1="50235" y1="18771" x2="56348" y2="17448"/>
                        <a14:backgroundMark x1="41504" y1="20660" x2="48325" y2="19184"/>
                        <a14:backgroundMark x1="51465" y1="29340" x2="52441" y2="30816"/>
                        <a14:backgroundMark x1="47412" y1="30208" x2="47412" y2="30208"/>
                        <a14:backgroundMark x1="44922" y1="35764" x2="44922" y2="35764"/>
                        <a14:backgroundMark x1="45264" y1="43576" x2="45264" y2="43576"/>
                        <a14:backgroundMark x1="49170" y1="48438" x2="49170" y2="48438"/>
                        <a14:backgroundMark x1="49658" y1="37500" x2="49658" y2="37500"/>
                        <a14:backgroundMark x1="55371" y1="34288" x2="55371" y2="34288"/>
                        <a14:backgroundMark x1="54883" y1="42969" x2="54883" y2="42969"/>
                        <a14:backgroundMark x1="55566" y1="62066" x2="55566" y2="62066"/>
                        <a14:backgroundMark x1="50000" y1="53733" x2="50000" y2="53733"/>
                        <a14:backgroundMark x1="50342" y1="53733" x2="50342" y2="53733"/>
                        <a14:backgroundMark x1="50146" y1="55122" x2="50146" y2="55122"/>
                        <a14:backgroundMark x1="46436" y1="61806" x2="46436" y2="61806"/>
                        <a14:backgroundMark x1="43164" y1="50260" x2="43164" y2="50260"/>
                        <a14:backgroundMark x1="43652" y1="51128" x2="43652" y2="51128"/>
                        <a14:backgroundMark x1="41504" y1="44444" x2="40527" y2="44444"/>
                        <a14:backgroundMark x1="43945" y1="51649" x2="43945" y2="51649"/>
                        <a14:backgroundMark x1="42334" y1="47917" x2="43164" y2="47917"/>
                        <a14:backgroundMark x1="47705" y1="58333" x2="47900" y2="61198"/>
                        <a14:backgroundMark x1="50146" y1="55122" x2="50146" y2="55122"/>
                        <a14:backgroundMark x1="55371" y1="62674" x2="56348" y2="59201"/>
                        <a14:backgroundMark x1="46924" y1="61198" x2="49512" y2="64149"/>
                        <a14:backgroundMark x1="47070" y1="58333" x2="46582" y2="62674"/>
                        <a14:backgroundMark x1="49365" y1="55469" x2="51611" y2="55990"/>
                        <a14:backgroundMark x1="55225" y1="61198" x2="57520" y2="61806"/>
                        <a14:backgroundMark x1="46094" y1="57205" x2="47705" y2="62934"/>
                        <a14:backgroundMark x1="51953" y1="59809" x2="57508" y2="61521"/>
                        <a14:backgroundMark x1="49663" y1="53144" x2="50342" y2="55729"/>
                        <a14:backgroundMark x1="45117" y1="57726" x2="46729" y2="59201"/>
                        <a14:backgroundMark x1="41504" y1="46181" x2="42822" y2="53733"/>
                        <a14:backgroundMark x1="45117" y1="46701" x2="45117" y2="46701"/>
                        <a14:backgroundMark x1="49170" y1="53733" x2="50146" y2="54861"/>
                        <a14:backgroundMark x1="46094" y1="56858" x2="45605" y2="55990"/>
                        <a14:backgroundMark x1="38574" y1="37760" x2="38574" y2="40625"/>
                        <a14:backgroundMark x1="41186" y1="45494" x2="43799" y2="53385"/>
                        <a14:backgroundMark x1="40723" y1="44097" x2="41167" y2="45439"/>
                        <a14:backgroundMark x1="47900" y1="54601" x2="50342" y2="55729"/>
                        <a14:backgroundMark x1="44287" y1="53125" x2="44287" y2="53125"/>
                        <a14:backgroundMark x1="44287" y1="52517" x2="44287" y2="52517"/>
                        <a14:backgroundMark x1="45605" y1="56858" x2="46094" y2="55729"/>
                        <a14:backgroundMark x1="45264" y1="46441" x2="45264" y2="46441"/>
                        <a14:backgroundMark x1="44141" y1="53385" x2="44141" y2="53385"/>
                        <a14:backgroundMark x1="44629" y1="53125" x2="44629" y2="53125"/>
                        <a14:backgroundMark x1="44287" y1="53733" x2="44287" y2="53733"/>
                        <a14:backgroundMark x1="44434" y1="52865" x2="44434" y2="52517"/>
                        <a14:backgroundMark x1="45605" y1="55990" x2="45605" y2="55990"/>
                        <a14:backgroundMark x1="39063" y1="40625" x2="39063" y2="40625"/>
                        <a14:backgroundMark x1="39453" y1="40191" x2="39453" y2="40191"/>
                        <a14:backgroundMark x1="40039" y1="42969" x2="40039" y2="42969"/>
                        <a14:backgroundMark x1="39453" y1="40625" x2="39453" y2="40625"/>
                        <a14:backgroundMark x1="39307" y1="40625" x2="39307" y2="40625"/>
                        <a14:backgroundMark x1="45752" y1="55469" x2="45752" y2="55469"/>
                        <a14:backgroundMark x1="48535" y1="53125" x2="48535" y2="53125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17636" y="3243890"/>
            <a:ext cx="590440" cy="33213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90" name="Google Shape;79;p13">
            <a:extLst>
              <a:ext uri="{FF2B5EF4-FFF2-40B4-BE49-F238E27FC236}">
                <a16:creationId xmlns:a16="http://schemas.microsoft.com/office/drawing/2014/main" id="{3A958A4A-278F-B8DF-9245-4CB3C2BCA29B}"/>
              </a:ext>
            </a:extLst>
          </p:cNvPr>
          <p:cNvPicPr preferRelativeResize="0"/>
          <p:nvPr/>
        </p:nvPicPr>
        <p:blipFill>
          <a:blip r:embed="rId28">
            <a:alphaModFix/>
            <a:extLst>
              <a:ext uri="{BEBA8EAE-BF5A-486C-A8C5-ECC9F3942E4B}">
                <a14:imgProps xmlns:a14="http://schemas.microsoft.com/office/drawing/2010/main">
                  <a14:imgLayer r:embed="rId29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528019" y="4543568"/>
            <a:ext cx="772345" cy="48271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91" name="Google Shape;80;p13">
            <a:extLst>
              <a:ext uri="{FF2B5EF4-FFF2-40B4-BE49-F238E27FC236}">
                <a16:creationId xmlns:a16="http://schemas.microsoft.com/office/drawing/2014/main" id="{C4D99693-55F6-8C3B-D39E-F5C6F12308AD}"/>
              </a:ext>
            </a:extLst>
          </p:cNvPr>
          <p:cNvPicPr preferRelativeResize="0"/>
          <p:nvPr/>
        </p:nvPicPr>
        <p:blipFill>
          <a:blip r:embed="rId30">
            <a:alphaModFix/>
            <a:extLst>
              <a:ext uri="{BEBA8EAE-BF5A-486C-A8C5-ECC9F3942E4B}">
                <a14:imgProps xmlns:a14="http://schemas.microsoft.com/office/drawing/2010/main">
                  <a14:imgLayer r:embed="rId31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87087" y="4439649"/>
            <a:ext cx="530299" cy="153293"/>
          </a:xfrm>
          <a:prstGeom prst="rect">
            <a:avLst/>
          </a:prstGeom>
          <a:noFill/>
          <a:ln>
            <a:noFill/>
          </a:ln>
        </p:spPr>
      </p:pic>
      <p:pic>
        <p:nvPicPr>
          <p:cNvPr id="1592" name="Google Shape;81;p13">
            <a:extLst>
              <a:ext uri="{FF2B5EF4-FFF2-40B4-BE49-F238E27FC236}">
                <a16:creationId xmlns:a16="http://schemas.microsoft.com/office/drawing/2014/main" id="{5BCA645A-D848-7DC8-7868-EB9D2E1EEF77}"/>
              </a:ext>
            </a:extLst>
          </p:cNvPr>
          <p:cNvPicPr preferRelativeResize="0"/>
          <p:nvPr/>
        </p:nvPicPr>
        <p:blipFill>
          <a:blip r:embed="rId32">
            <a:alphaModFix/>
            <a:extLst>
              <a:ext uri="{BEBA8EAE-BF5A-486C-A8C5-ECC9F3942E4B}">
                <a14:imgProps xmlns:a14="http://schemas.microsoft.com/office/drawing/2010/main">
                  <a14:imgLayer r:embed="rId3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753068" y="3692594"/>
            <a:ext cx="777318" cy="200115"/>
          </a:xfrm>
          <a:prstGeom prst="rect">
            <a:avLst/>
          </a:prstGeom>
          <a:noFill/>
          <a:ln>
            <a:noFill/>
          </a:ln>
        </p:spPr>
      </p:pic>
      <p:pic>
        <p:nvPicPr>
          <p:cNvPr id="1593" name="Google Shape;82;p13">
            <a:extLst>
              <a:ext uri="{FF2B5EF4-FFF2-40B4-BE49-F238E27FC236}">
                <a16:creationId xmlns:a16="http://schemas.microsoft.com/office/drawing/2014/main" id="{3B011656-C0B6-9DB7-61F7-04CF08369E0D}"/>
              </a:ext>
            </a:extLst>
          </p:cNvPr>
          <p:cNvPicPr preferRelativeResize="0"/>
          <p:nvPr/>
        </p:nvPicPr>
        <p:blipFill>
          <a:blip r:embed="rId34">
            <a:alphaModFix/>
            <a:extLst>
              <a:ext uri="{BEBA8EAE-BF5A-486C-A8C5-ECC9F3942E4B}">
                <a14:imgProps xmlns:a14="http://schemas.microsoft.com/office/drawing/2010/main">
                  <a14:imgLayer r:embed="rId3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06280" y="4490511"/>
            <a:ext cx="342215" cy="204861"/>
          </a:xfrm>
          <a:prstGeom prst="rect">
            <a:avLst/>
          </a:prstGeom>
          <a:noFill/>
          <a:ln>
            <a:noFill/>
          </a:ln>
        </p:spPr>
      </p:pic>
      <p:pic>
        <p:nvPicPr>
          <p:cNvPr id="1613" name="Picture 12" descr="Brand Assets - Prefect">
            <a:extLst>
              <a:ext uri="{FF2B5EF4-FFF2-40B4-BE49-F238E27FC236}">
                <a16:creationId xmlns:a16="http://schemas.microsoft.com/office/drawing/2014/main" id="{966CB3A9-34D7-313B-9602-9915CF175E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BEBA8EAE-BF5A-486C-A8C5-ECC9F3942E4B}">
                <a14:imgProps xmlns:a14="http://schemas.microsoft.com/office/drawing/2010/main">
                  <a14:imgLayer r:embed="rId3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6106" y="4788603"/>
            <a:ext cx="581819" cy="148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14" name="Picture 14" descr="Kubeflow logo? · Issue #187 · kubeflow/kubeflow · GitHub">
            <a:extLst>
              <a:ext uri="{FF2B5EF4-FFF2-40B4-BE49-F238E27FC236}">
                <a16:creationId xmlns:a16="http://schemas.microsoft.com/office/drawing/2014/main" id="{2FDF9379-45B0-FEC3-AA24-48647F059B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>
            <a:extLst>
              <a:ext uri="{BEBA8EAE-BF5A-486C-A8C5-ECC9F3942E4B}">
                <a14:imgProps xmlns:a14="http://schemas.microsoft.com/office/drawing/2010/main">
                  <a14:imgLayer r:embed="rId3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3172" y="4507400"/>
            <a:ext cx="503600" cy="50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15" name="Picture 16" descr="GitHub - Netflix/metaflow: Build and manage real-life data science projects  with ease!">
            <a:extLst>
              <a:ext uri="{FF2B5EF4-FFF2-40B4-BE49-F238E27FC236}">
                <a16:creationId xmlns:a16="http://schemas.microsoft.com/office/drawing/2014/main" id="{1883C2A3-BF9D-81AE-BBE7-2A92CFE06B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>
            <a:extLst>
              <a:ext uri="{BEBA8EAE-BF5A-486C-A8C5-ECC9F3942E4B}">
                <a14:imgProps xmlns:a14="http://schemas.microsoft.com/office/drawing/2010/main">
                  <a14:imgLayer r:embed="rId4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7981" y="4228874"/>
            <a:ext cx="735811" cy="367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16" name="Picture 20" descr="Managed MLflow – Databricks">
            <a:extLst>
              <a:ext uri="{FF2B5EF4-FFF2-40B4-BE49-F238E27FC236}">
                <a16:creationId xmlns:a16="http://schemas.microsoft.com/office/drawing/2014/main" id="{CAFA493F-B2C1-4248-FEB1-0CAD27DAB6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>
            <a:extLst>
              <a:ext uri="{BEBA8EAE-BF5A-486C-A8C5-ECC9F3942E4B}">
                <a14:imgProps xmlns:a14="http://schemas.microsoft.com/office/drawing/2010/main">
                  <a14:imgLayer r:embed="rId4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2672" y="4386039"/>
            <a:ext cx="558784" cy="215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17" name="Picture 1616" descr="Text&#10;&#10;Description automatically generated with medium confidence">
            <a:extLst>
              <a:ext uri="{FF2B5EF4-FFF2-40B4-BE49-F238E27FC236}">
                <a16:creationId xmlns:a16="http://schemas.microsoft.com/office/drawing/2014/main" id="{5CB41AEB-B3A1-8B1F-50D0-B79AF435AC90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3417385" y="4017888"/>
            <a:ext cx="607423" cy="302092"/>
          </a:xfrm>
          <a:prstGeom prst="rect">
            <a:avLst/>
          </a:prstGeom>
        </p:spPr>
      </p:pic>
      <p:pic>
        <p:nvPicPr>
          <p:cNvPr id="1629" name="Picture 22" descr="Spark Streaming (procesamiento por lotes y tiempo real) - Diego Calvo">
            <a:extLst>
              <a:ext uri="{FF2B5EF4-FFF2-40B4-BE49-F238E27FC236}">
                <a16:creationId xmlns:a16="http://schemas.microsoft.com/office/drawing/2014/main" id="{C20974D1-E277-AD69-BEC7-03C39A9514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5">
            <a:extLst>
              <a:ext uri="{BEBA8EAE-BF5A-486C-A8C5-ECC9F3942E4B}">
                <a14:imgProps xmlns:a14="http://schemas.microsoft.com/office/drawing/2010/main">
                  <a14:imgLayer r:embed="rId46">
                    <a14:imgEffect>
                      <a14:backgroundRemoval t="5285" b="91057" l="6667" r="95385">
                        <a14:foregroundMark x1="68205" y1="13415" x2="68205" y2="13415"/>
                        <a14:foregroundMark x1="56410" y1="5285" x2="56410" y2="5285"/>
                        <a14:foregroundMark x1="53333" y1="41463" x2="53333" y2="41463"/>
                        <a14:foregroundMark x1="52564" y1="34959" x2="52564" y2="34959"/>
                        <a14:foregroundMark x1="52564" y1="36992" x2="52564" y2="36992"/>
                        <a14:foregroundMark x1="90769" y1="71545" x2="90769" y2="71545"/>
                        <a14:foregroundMark x1="93333" y1="71951" x2="93333" y2="71951"/>
                        <a14:foregroundMark x1="94103" y1="73171" x2="94103" y2="73171"/>
                        <a14:foregroundMark x1="95897" y1="77642" x2="95897" y2="77642"/>
                        <a14:foregroundMark x1="94359" y1="84146" x2="94359" y2="84146"/>
                        <a14:foregroundMark x1="92821" y1="87805" x2="92821" y2="87805"/>
                        <a14:foregroundMark x1="91795" y1="91463" x2="91795" y2="91463"/>
                        <a14:foregroundMark x1="86154" y1="80488" x2="86154" y2="80488"/>
                        <a14:foregroundMark x1="81538" y1="74797" x2="81538" y2="74797"/>
                        <a14:foregroundMark x1="79487" y1="72358" x2="79487" y2="72358"/>
                        <a14:foregroundMark x1="79487" y1="71951" x2="79487" y2="71951"/>
                        <a14:foregroundMark x1="79487" y1="71951" x2="79487" y2="71951"/>
                        <a14:foregroundMark x1="79487" y1="71951" x2="79487" y2="71951"/>
                        <a14:foregroundMark x1="81538" y1="76423" x2="81538" y2="76423"/>
                        <a14:foregroundMark x1="81538" y1="80488" x2="81538" y2="80488"/>
                        <a14:foregroundMark x1="69231" y1="79675" x2="69231" y2="79675"/>
                        <a14:foregroundMark x1="70000" y1="73984" x2="70000" y2="73984"/>
                        <a14:foregroundMark x1="73590" y1="80894" x2="73590" y2="80894"/>
                        <a14:foregroundMark x1="71282" y1="63415" x2="71282" y2="63415"/>
                        <a14:foregroundMark x1="61026" y1="73171" x2="61026" y2="73171"/>
                        <a14:foregroundMark x1="53077" y1="39837" x2="53077" y2="39837"/>
                        <a14:foregroundMark x1="55385" y1="36585" x2="55385" y2="36585"/>
                        <a14:foregroundMark x1="58205" y1="32520" x2="58205" y2="32520"/>
                        <a14:foregroundMark x1="57179" y1="42276" x2="57179" y2="42276"/>
                        <a14:foregroundMark x1="57692" y1="46748" x2="57692" y2="46748"/>
                        <a14:foregroundMark x1="52308" y1="42276" x2="52308" y2="42276"/>
                        <a14:foregroundMark x1="52308" y1="45528" x2="52308" y2="45528"/>
                        <a14:foregroundMark x1="45641" y1="38211" x2="45641" y2="38211"/>
                        <a14:foregroundMark x1="46154" y1="38211" x2="46154" y2="38211"/>
                        <a14:foregroundMark x1="46667" y1="36992" x2="46667" y2="36992"/>
                        <a14:foregroundMark x1="45897" y1="41463" x2="45897" y2="41463"/>
                        <a14:foregroundMark x1="45641" y1="40650" x2="45641" y2="40650"/>
                        <a14:foregroundMark x1="45641" y1="45122" x2="45641" y2="45122"/>
                        <a14:foregroundMark x1="41538" y1="39837" x2="41538" y2="39837"/>
                        <a14:foregroundMark x1="41538" y1="40650" x2="41538" y2="40650"/>
                        <a14:foregroundMark x1="41538" y1="43902" x2="41538" y2="43902"/>
                        <a14:foregroundMark x1="38718" y1="33740" x2="38718" y2="33740"/>
                        <a14:foregroundMark x1="34872" y1="33740" x2="34872" y2="33740"/>
                        <a14:foregroundMark x1="31795" y1="42683" x2="31795" y2="42683"/>
                        <a14:foregroundMark x1="31795" y1="39431" x2="31795" y2="39431"/>
                        <a14:foregroundMark x1="33846" y1="48374" x2="33846" y2="48374"/>
                        <a14:foregroundMark x1="23590" y1="34146" x2="23590" y2="34146"/>
                        <a14:foregroundMark x1="27436" y1="38211" x2="27436" y2="38211"/>
                        <a14:foregroundMark x1="27949" y1="36992" x2="27949" y2="36992"/>
                        <a14:foregroundMark x1="17949" y1="39837" x2="17949" y2="39837"/>
                        <a14:foregroundMark x1="21026" y1="48780" x2="21026" y2="48780"/>
                        <a14:foregroundMark x1="17692" y1="45122" x2="17692" y2="45122"/>
                        <a14:foregroundMark x1="26667" y1="45528" x2="26667" y2="45528"/>
                        <a14:foregroundMark x1="13590" y1="26423" x2="13590" y2="26423"/>
                        <a14:foregroundMark x1="12308" y1="24797" x2="12308" y2="24797"/>
                        <a14:foregroundMark x1="15128" y1="28049" x2="15128" y2="28049"/>
                        <a14:foregroundMark x1="8718" y1="30488" x2="8718" y2="30488"/>
                        <a14:foregroundMark x1="12564" y1="41057" x2="12564" y2="41057"/>
                        <a14:foregroundMark x1="10513" y1="36179" x2="10513" y2="36179"/>
                        <a14:foregroundMark x1="12564" y1="47154" x2="12564" y2="47154"/>
                        <a14:foregroundMark x1="6667" y1="48374" x2="6667" y2="48374"/>
                        <a14:foregroundMark x1="63846" y1="72358" x2="63846" y2="72358"/>
                        <a14:foregroundMark x1="60000" y1="76016" x2="60000" y2="76016"/>
                        <a14:foregroundMark x1="44872" y1="71545" x2="44872" y2="71545"/>
                        <a14:foregroundMark x1="48462" y1="73984" x2="48462" y2="73984"/>
                        <a14:foregroundMark x1="41026" y1="83740" x2="41026" y2="83740"/>
                        <a14:foregroundMark x1="34615" y1="71951" x2="34615" y2="71951"/>
                        <a14:foregroundMark x1="36410" y1="73577" x2="36410" y2="73577"/>
                        <a14:foregroundMark x1="29744" y1="84959" x2="29744" y2="84959"/>
                        <a14:foregroundMark x1="23590" y1="73984" x2="23590" y2="73984"/>
                        <a14:foregroundMark x1="16410" y1="71951" x2="16410" y2="71951"/>
                        <a14:foregroundMark x1="17179" y1="73171" x2="17179" y2="73171"/>
                        <a14:foregroundMark x1="12051" y1="78049" x2="12051" y2="78049"/>
                        <a14:foregroundMark x1="10769" y1="73984" x2="10769" y2="73984"/>
                        <a14:foregroundMark x1="12051" y1="23171" x2="12051" y2="23171"/>
                        <a14:backgroundMark x1="12308" y1="23577" x2="12308" y2="23577"/>
                        <a14:backgroundMark x1="11282" y1="23577" x2="11282" y2="23577"/>
                        <a14:backgroundMark x1="11538" y1="23577" x2="11538" y2="23577"/>
                        <a14:backgroundMark x1="11538" y1="22358" x2="11538" y2="22358"/>
                        <a14:backgroundMark x1="12308" y1="23171" x2="12308" y2="23171"/>
                        <a14:backgroundMark x1="11538" y1="23171" x2="11538" y2="23171"/>
                        <a14:backgroundMark x1="12308" y1="23577" x2="12308" y2="23577"/>
                        <a14:backgroundMark x1="11538" y1="23171" x2="11538" y2="23171"/>
                        <a14:backgroundMark x1="11538" y1="23171" x2="11538" y2="23171"/>
                        <a14:backgroundMark x1="12051" y1="23577" x2="12051" y2="23577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8998" y="2312832"/>
            <a:ext cx="718033" cy="452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0" name="Picture 24">
            <a:extLst>
              <a:ext uri="{FF2B5EF4-FFF2-40B4-BE49-F238E27FC236}">
                <a16:creationId xmlns:a16="http://schemas.microsoft.com/office/drawing/2014/main" id="{A3097386-1EDA-39F1-375C-D25DEE49FC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7">
            <a:extLst>
              <a:ext uri="{BEBA8EAE-BF5A-486C-A8C5-ECC9F3942E4B}">
                <a14:imgProps xmlns:a14="http://schemas.microsoft.com/office/drawing/2010/main">
                  <a14:imgLayer r:embed="rId4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960" y="2231244"/>
            <a:ext cx="577143" cy="210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2" name="Picture 28">
            <a:extLst>
              <a:ext uri="{FF2B5EF4-FFF2-40B4-BE49-F238E27FC236}">
                <a16:creationId xmlns:a16="http://schemas.microsoft.com/office/drawing/2014/main" id="{7D27D907-D559-C2EB-E2AC-9C9CF15226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9">
            <a:extLst>
              <a:ext uri="{BEBA8EAE-BF5A-486C-A8C5-ECC9F3942E4B}">
                <a14:imgProps xmlns:a14="http://schemas.microsoft.com/office/drawing/2010/main">
                  <a14:imgLayer r:embed="rId5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9346" y="2803134"/>
            <a:ext cx="453861" cy="226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3" name="Picture 34">
            <a:extLst>
              <a:ext uri="{FF2B5EF4-FFF2-40B4-BE49-F238E27FC236}">
                <a16:creationId xmlns:a16="http://schemas.microsoft.com/office/drawing/2014/main" id="{6B51C825-185F-C6CF-DC79-6DC83A4746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1">
            <a:extLst>
              <a:ext uri="{BEBA8EAE-BF5A-486C-A8C5-ECC9F3942E4B}">
                <a14:imgProps xmlns:a14="http://schemas.microsoft.com/office/drawing/2010/main">
                  <a14:imgLayer r:embed="rId5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4727" y="2912972"/>
            <a:ext cx="494486" cy="208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34" name="Group 1633">
            <a:extLst>
              <a:ext uri="{FF2B5EF4-FFF2-40B4-BE49-F238E27FC236}">
                <a16:creationId xmlns:a16="http://schemas.microsoft.com/office/drawing/2014/main" id="{939BEB74-00AB-5A03-30E9-824F1E84B7F5}"/>
              </a:ext>
            </a:extLst>
          </p:cNvPr>
          <p:cNvGrpSpPr/>
          <p:nvPr/>
        </p:nvGrpSpPr>
        <p:grpSpPr>
          <a:xfrm>
            <a:off x="2566118" y="3023997"/>
            <a:ext cx="592381" cy="290405"/>
            <a:chOff x="4402524" y="4121762"/>
            <a:chExt cx="384498" cy="188494"/>
          </a:xfrm>
        </p:grpSpPr>
        <p:pic>
          <p:nvPicPr>
            <p:cNvPr id="1635" name="Picture 30">
              <a:extLst>
                <a:ext uri="{FF2B5EF4-FFF2-40B4-BE49-F238E27FC236}">
                  <a16:creationId xmlns:a16="http://schemas.microsoft.com/office/drawing/2014/main" id="{6C49C4D0-0778-7F47-F5E1-08E2B772CF0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3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4">
                      <a14:imgEffect>
                        <a14:saturation sat="0"/>
                      </a14:imgEffect>
                      <a14:imgEffect>
                        <a14:brightnessContrast bright="-8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9237"/>
            <a:stretch/>
          </p:blipFill>
          <p:spPr bwMode="auto">
            <a:xfrm>
              <a:off x="4402524" y="4121762"/>
              <a:ext cx="195180" cy="188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36" name="Picture 30">
              <a:extLst>
                <a:ext uri="{FF2B5EF4-FFF2-40B4-BE49-F238E27FC236}">
                  <a16:creationId xmlns:a16="http://schemas.microsoft.com/office/drawing/2014/main" id="{91F4857E-A827-80D6-F4BD-20BE364668C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5">
              <a:extLst>
                <a:ext uri="{BEBA8EAE-BF5A-486C-A8C5-ECC9F3942E4B}">
                  <a14:imgProps xmlns:a14="http://schemas.microsoft.com/office/drawing/2010/main">
                    <a14:imgLayer r:embed="rId5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237"/>
            <a:stretch/>
          </p:blipFill>
          <p:spPr bwMode="auto">
            <a:xfrm>
              <a:off x="4591842" y="4121762"/>
              <a:ext cx="195180" cy="188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640" name="Google Shape;54;p13">
            <a:extLst>
              <a:ext uri="{FF2B5EF4-FFF2-40B4-BE49-F238E27FC236}">
                <a16:creationId xmlns:a16="http://schemas.microsoft.com/office/drawing/2014/main" id="{95E1C118-B61C-8A48-1F7C-7836AFAAAF09}"/>
              </a:ext>
            </a:extLst>
          </p:cNvPr>
          <p:cNvPicPr preferRelativeResize="0"/>
          <p:nvPr/>
        </p:nvPicPr>
        <p:blipFill>
          <a:blip r:embed="rId56">
            <a:alphaModFix/>
            <a:extLst>
              <a:ext uri="{BEBA8EAE-BF5A-486C-A8C5-ECC9F3942E4B}">
                <a14:imgProps xmlns:a14="http://schemas.microsoft.com/office/drawing/2010/main">
                  <a14:imgLayer r:embed="rId5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149570" y="3982426"/>
            <a:ext cx="205415" cy="1949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641" name="Google Shape;55;p13">
            <a:extLst>
              <a:ext uri="{FF2B5EF4-FFF2-40B4-BE49-F238E27FC236}">
                <a16:creationId xmlns:a16="http://schemas.microsoft.com/office/drawing/2014/main" id="{CA744A5C-F15C-E124-CA8F-4EEC029E8D63}"/>
              </a:ext>
            </a:extLst>
          </p:cNvPr>
          <p:cNvPicPr preferRelativeResize="0"/>
          <p:nvPr/>
        </p:nvPicPr>
        <p:blipFill>
          <a:blip r:embed="rId58">
            <a:alphaModFix/>
            <a:extLst>
              <a:ext uri="{BEBA8EAE-BF5A-486C-A8C5-ECC9F3942E4B}">
                <a14:imgProps xmlns:a14="http://schemas.microsoft.com/office/drawing/2010/main">
                  <a14:imgLayer r:embed="rId59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651175" y="3677406"/>
            <a:ext cx="890500" cy="296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642" name="Google Shape;56;p13">
            <a:extLst>
              <a:ext uri="{FF2B5EF4-FFF2-40B4-BE49-F238E27FC236}">
                <a16:creationId xmlns:a16="http://schemas.microsoft.com/office/drawing/2014/main" id="{71E29BD3-EAE8-2657-2403-C138DF8F027F}"/>
              </a:ext>
            </a:extLst>
          </p:cNvPr>
          <p:cNvPicPr preferRelativeResize="0"/>
          <p:nvPr/>
        </p:nvPicPr>
        <p:blipFill>
          <a:blip r:embed="rId60">
            <a:alphaModFix/>
            <a:extLst>
              <a:ext uri="{BEBA8EAE-BF5A-486C-A8C5-ECC9F3942E4B}">
                <a14:imgProps xmlns:a14="http://schemas.microsoft.com/office/drawing/2010/main">
                  <a14:imgLayer r:embed="rId61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49950" y="3720603"/>
            <a:ext cx="446786" cy="174529"/>
          </a:xfrm>
          <a:prstGeom prst="rect">
            <a:avLst/>
          </a:prstGeom>
          <a:noFill/>
          <a:ln>
            <a:noFill/>
          </a:ln>
        </p:spPr>
      </p:pic>
      <p:pic>
        <p:nvPicPr>
          <p:cNvPr id="1643" name="Google Shape;58;p13">
            <a:extLst>
              <a:ext uri="{FF2B5EF4-FFF2-40B4-BE49-F238E27FC236}">
                <a16:creationId xmlns:a16="http://schemas.microsoft.com/office/drawing/2014/main" id="{8502326D-F12D-6D0C-0E54-4B58718CDD8F}"/>
              </a:ext>
            </a:extLst>
          </p:cNvPr>
          <p:cNvPicPr preferRelativeResize="0"/>
          <p:nvPr/>
        </p:nvPicPr>
        <p:blipFill>
          <a:blip r:embed="rId62">
            <a:alphaModFix/>
            <a:extLst>
              <a:ext uri="{BEBA8EAE-BF5A-486C-A8C5-ECC9F3942E4B}">
                <a14:imgProps xmlns:a14="http://schemas.microsoft.com/office/drawing/2010/main">
                  <a14:imgLayer r:embed="rId6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45528" y="3981580"/>
            <a:ext cx="684297" cy="1814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644" name="Google Shape;59;p13">
            <a:extLst>
              <a:ext uri="{FF2B5EF4-FFF2-40B4-BE49-F238E27FC236}">
                <a16:creationId xmlns:a16="http://schemas.microsoft.com/office/drawing/2014/main" id="{7EE23D29-DA4C-C454-037E-7D2D9CD77856}"/>
              </a:ext>
            </a:extLst>
          </p:cNvPr>
          <p:cNvPicPr preferRelativeResize="0"/>
          <p:nvPr/>
        </p:nvPicPr>
        <p:blipFill>
          <a:blip r:embed="rId64">
            <a:alphaModFix/>
            <a:extLst>
              <a:ext uri="{BEBA8EAE-BF5A-486C-A8C5-ECC9F3942E4B}">
                <a14:imgProps xmlns:a14="http://schemas.microsoft.com/office/drawing/2010/main">
                  <a14:imgLayer r:embed="rId6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813942" y="3710437"/>
            <a:ext cx="643105" cy="184495"/>
          </a:xfrm>
          <a:prstGeom prst="rect">
            <a:avLst/>
          </a:prstGeom>
          <a:noFill/>
          <a:ln>
            <a:noFill/>
          </a:ln>
        </p:spPr>
      </p:pic>
      <p:pic>
        <p:nvPicPr>
          <p:cNvPr id="1645" name="Google Shape;61;p13">
            <a:extLst>
              <a:ext uri="{FF2B5EF4-FFF2-40B4-BE49-F238E27FC236}">
                <a16:creationId xmlns:a16="http://schemas.microsoft.com/office/drawing/2014/main" id="{AFCE16A0-D25A-E473-2588-F2A97E56AE55}"/>
              </a:ext>
            </a:extLst>
          </p:cNvPr>
          <p:cNvPicPr preferRelativeResize="0"/>
          <p:nvPr/>
        </p:nvPicPr>
        <p:blipFill>
          <a:blip r:embed="rId66">
            <a:alphaModFix/>
            <a:extLst>
              <a:ext uri="{BEBA8EAE-BF5A-486C-A8C5-ECC9F3942E4B}">
                <a14:imgProps xmlns:a14="http://schemas.microsoft.com/office/drawing/2010/main">
                  <a14:imgLayer r:embed="rId6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473256" y="3919547"/>
            <a:ext cx="793734" cy="16432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69" name="Picture 16" descr="Impala ODBC and JDBC Drivers - Simba - insightsoftware">
            <a:extLst>
              <a:ext uri="{FF2B5EF4-FFF2-40B4-BE49-F238E27FC236}">
                <a16:creationId xmlns:a16="http://schemas.microsoft.com/office/drawing/2014/main" id="{1B2F1E9E-46D6-BA3B-8EA4-6D84F69232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8">
            <a:extLst>
              <a:ext uri="{BEBA8EAE-BF5A-486C-A8C5-ECC9F3942E4B}">
                <a14:imgProps xmlns:a14="http://schemas.microsoft.com/office/drawing/2010/main">
                  <a14:imgLayer r:embed="rId6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3875" y="5040807"/>
            <a:ext cx="932579" cy="7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86" name="Connector: Elbow 1685">
            <a:extLst>
              <a:ext uri="{FF2B5EF4-FFF2-40B4-BE49-F238E27FC236}">
                <a16:creationId xmlns:a16="http://schemas.microsoft.com/office/drawing/2014/main" id="{E786E70A-2095-9483-4696-F2104407FB6D}"/>
              </a:ext>
            </a:extLst>
          </p:cNvPr>
          <p:cNvCxnSpPr>
            <a:cxnSpLocks/>
          </p:cNvCxnSpPr>
          <p:nvPr/>
        </p:nvCxnSpPr>
        <p:spPr>
          <a:xfrm rot="10800000">
            <a:off x="279758" y="3251151"/>
            <a:ext cx="3483387" cy="285358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7" name="Oval 1686">
            <a:extLst>
              <a:ext uri="{FF2B5EF4-FFF2-40B4-BE49-F238E27FC236}">
                <a16:creationId xmlns:a16="http://schemas.microsoft.com/office/drawing/2014/main" id="{DD1C072E-97F1-9F99-B780-442416D821BA}"/>
              </a:ext>
            </a:extLst>
          </p:cNvPr>
          <p:cNvSpPr/>
          <p:nvPr/>
        </p:nvSpPr>
        <p:spPr>
          <a:xfrm>
            <a:off x="3747492" y="3502786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691" name="TextBox 1690">
            <a:extLst>
              <a:ext uri="{FF2B5EF4-FFF2-40B4-BE49-F238E27FC236}">
                <a16:creationId xmlns:a16="http://schemas.microsoft.com/office/drawing/2014/main" id="{E885CA38-B8F6-1AA4-23F6-9097EB50E621}"/>
              </a:ext>
            </a:extLst>
          </p:cNvPr>
          <p:cNvSpPr txBox="1"/>
          <p:nvPr/>
        </p:nvSpPr>
        <p:spPr>
          <a:xfrm>
            <a:off x="248437" y="2899412"/>
            <a:ext cx="16890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Containerization</a:t>
            </a:r>
          </a:p>
        </p:txBody>
      </p:sp>
      <p:cxnSp>
        <p:nvCxnSpPr>
          <p:cNvPr id="1696" name="Connector: Elbow 1695">
            <a:extLst>
              <a:ext uri="{FF2B5EF4-FFF2-40B4-BE49-F238E27FC236}">
                <a16:creationId xmlns:a16="http://schemas.microsoft.com/office/drawing/2014/main" id="{F3115B97-B7BC-37B0-1C91-74AB8D916E50}"/>
              </a:ext>
            </a:extLst>
          </p:cNvPr>
          <p:cNvCxnSpPr>
            <a:cxnSpLocks/>
          </p:cNvCxnSpPr>
          <p:nvPr/>
        </p:nvCxnSpPr>
        <p:spPr>
          <a:xfrm rot="10800000" flipV="1">
            <a:off x="946813" y="4422811"/>
            <a:ext cx="1643394" cy="37489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7" name="Oval 1696">
            <a:extLst>
              <a:ext uri="{FF2B5EF4-FFF2-40B4-BE49-F238E27FC236}">
                <a16:creationId xmlns:a16="http://schemas.microsoft.com/office/drawing/2014/main" id="{CBFE2427-8784-CCD9-ED7D-27B2576E3CF6}"/>
              </a:ext>
            </a:extLst>
          </p:cNvPr>
          <p:cNvSpPr/>
          <p:nvPr/>
        </p:nvSpPr>
        <p:spPr>
          <a:xfrm>
            <a:off x="2574555" y="4389082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00" name="TextBox 1699">
            <a:extLst>
              <a:ext uri="{FF2B5EF4-FFF2-40B4-BE49-F238E27FC236}">
                <a16:creationId xmlns:a16="http://schemas.microsoft.com/office/drawing/2014/main" id="{A3A511EC-143B-D17A-06A1-86006450F840}"/>
              </a:ext>
            </a:extLst>
          </p:cNvPr>
          <p:cNvSpPr txBox="1"/>
          <p:nvPr/>
        </p:nvSpPr>
        <p:spPr>
          <a:xfrm>
            <a:off x="485804" y="4436695"/>
            <a:ext cx="1202681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Visualization</a:t>
            </a:r>
          </a:p>
        </p:txBody>
      </p:sp>
      <p:cxnSp>
        <p:nvCxnSpPr>
          <p:cNvPr id="1704" name="Connector: Elbow 1703">
            <a:extLst>
              <a:ext uri="{FF2B5EF4-FFF2-40B4-BE49-F238E27FC236}">
                <a16:creationId xmlns:a16="http://schemas.microsoft.com/office/drawing/2014/main" id="{86F69606-5292-3851-85E7-B32CC100E6DD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04152" y="4626662"/>
            <a:ext cx="2549620" cy="888123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5" name="Oval 1704">
            <a:extLst>
              <a:ext uri="{FF2B5EF4-FFF2-40B4-BE49-F238E27FC236}">
                <a16:creationId xmlns:a16="http://schemas.microsoft.com/office/drawing/2014/main" id="{5875CB7E-283C-AAED-A9D8-9A70C34BFD88}"/>
              </a:ext>
            </a:extLst>
          </p:cNvPr>
          <p:cNvSpPr/>
          <p:nvPr/>
        </p:nvSpPr>
        <p:spPr>
          <a:xfrm>
            <a:off x="3538118" y="4592942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07" name="TextBox 1706">
            <a:extLst>
              <a:ext uri="{FF2B5EF4-FFF2-40B4-BE49-F238E27FC236}">
                <a16:creationId xmlns:a16="http://schemas.microsoft.com/office/drawing/2014/main" id="{05319FEB-2CE3-406E-E587-2A3C158392F6}"/>
              </a:ext>
            </a:extLst>
          </p:cNvPr>
          <p:cNvSpPr txBox="1"/>
          <p:nvPr/>
        </p:nvSpPr>
        <p:spPr>
          <a:xfrm>
            <a:off x="1013064" y="5165068"/>
            <a:ext cx="1602820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Orchestration</a:t>
            </a:r>
          </a:p>
        </p:txBody>
      </p:sp>
      <p:cxnSp>
        <p:nvCxnSpPr>
          <p:cNvPr id="1729" name="Connector: Elbow 1728">
            <a:extLst>
              <a:ext uri="{FF2B5EF4-FFF2-40B4-BE49-F238E27FC236}">
                <a16:creationId xmlns:a16="http://schemas.microsoft.com/office/drawing/2014/main" id="{9613257C-EDF5-7313-4A1A-960BAB2E19D5}"/>
              </a:ext>
            </a:extLst>
          </p:cNvPr>
          <p:cNvCxnSpPr>
            <a:cxnSpLocks/>
          </p:cNvCxnSpPr>
          <p:nvPr/>
        </p:nvCxnSpPr>
        <p:spPr>
          <a:xfrm rot="10800000" flipV="1">
            <a:off x="1918897" y="5688304"/>
            <a:ext cx="902155" cy="81534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2" name="TextBox 1731">
            <a:extLst>
              <a:ext uri="{FF2B5EF4-FFF2-40B4-BE49-F238E27FC236}">
                <a16:creationId xmlns:a16="http://schemas.microsoft.com/office/drawing/2014/main" id="{7E7AD300-2A62-088A-3036-97EFD2BCBA35}"/>
              </a:ext>
            </a:extLst>
          </p:cNvPr>
          <p:cNvSpPr txBox="1"/>
          <p:nvPr/>
        </p:nvSpPr>
        <p:spPr>
          <a:xfrm>
            <a:off x="1168676" y="5915591"/>
            <a:ext cx="12762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Big Data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Distributed</a:t>
            </a:r>
          </a:p>
        </p:txBody>
      </p:sp>
      <p:cxnSp>
        <p:nvCxnSpPr>
          <p:cNvPr id="1736" name="Connector: Elbow 1735">
            <a:extLst>
              <a:ext uri="{FF2B5EF4-FFF2-40B4-BE49-F238E27FC236}">
                <a16:creationId xmlns:a16="http://schemas.microsoft.com/office/drawing/2014/main" id="{613EB9D2-0C84-2887-7296-CD8B55327B9C}"/>
              </a:ext>
            </a:extLst>
          </p:cNvPr>
          <p:cNvCxnSpPr>
            <a:cxnSpLocks/>
          </p:cNvCxnSpPr>
          <p:nvPr/>
        </p:nvCxnSpPr>
        <p:spPr>
          <a:xfrm rot="10800000" flipV="1">
            <a:off x="3044426" y="5970654"/>
            <a:ext cx="754682" cy="559560"/>
          </a:xfrm>
          <a:prstGeom prst="bentConnector3">
            <a:avLst>
              <a:gd name="adj1" fmla="val 4746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7" name="Oval 1736">
            <a:extLst>
              <a:ext uri="{FF2B5EF4-FFF2-40B4-BE49-F238E27FC236}">
                <a16:creationId xmlns:a16="http://schemas.microsoft.com/office/drawing/2014/main" id="{516F1EF3-F01A-FDD2-8AD2-2FB43F7C663A}"/>
              </a:ext>
            </a:extLst>
          </p:cNvPr>
          <p:cNvSpPr/>
          <p:nvPr/>
        </p:nvSpPr>
        <p:spPr>
          <a:xfrm>
            <a:off x="3735332" y="5910768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43" name="TextBox 1742">
            <a:extLst>
              <a:ext uri="{FF2B5EF4-FFF2-40B4-BE49-F238E27FC236}">
                <a16:creationId xmlns:a16="http://schemas.microsoft.com/office/drawing/2014/main" id="{BCBDCC97-2975-911B-0480-7876A4B0DA77}"/>
              </a:ext>
            </a:extLst>
          </p:cNvPr>
          <p:cNvSpPr txBox="1"/>
          <p:nvPr/>
        </p:nvSpPr>
        <p:spPr>
          <a:xfrm>
            <a:off x="3036045" y="6236583"/>
            <a:ext cx="8860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NOSQL</a:t>
            </a:r>
          </a:p>
        </p:txBody>
      </p:sp>
      <p:cxnSp>
        <p:nvCxnSpPr>
          <p:cNvPr id="1747" name="Connector: Elbow 1746">
            <a:extLst>
              <a:ext uri="{FF2B5EF4-FFF2-40B4-BE49-F238E27FC236}">
                <a16:creationId xmlns:a16="http://schemas.microsoft.com/office/drawing/2014/main" id="{F286FD54-D97A-D4EC-3496-0DE2D9516FF9}"/>
              </a:ext>
            </a:extLst>
          </p:cNvPr>
          <p:cNvCxnSpPr>
            <a:cxnSpLocks/>
          </p:cNvCxnSpPr>
          <p:nvPr/>
        </p:nvCxnSpPr>
        <p:spPr>
          <a:xfrm rot="10800000" flipV="1">
            <a:off x="5159976" y="6026071"/>
            <a:ext cx="1188720" cy="457200"/>
          </a:xfrm>
          <a:prstGeom prst="bentConnector3">
            <a:avLst>
              <a:gd name="adj1" fmla="val -818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9" name="TextBox 1748">
            <a:extLst>
              <a:ext uri="{FF2B5EF4-FFF2-40B4-BE49-F238E27FC236}">
                <a16:creationId xmlns:a16="http://schemas.microsoft.com/office/drawing/2014/main" id="{347AD6B7-3E1F-8694-8816-D24E06FF2BA3}"/>
              </a:ext>
            </a:extLst>
          </p:cNvPr>
          <p:cNvSpPr txBox="1"/>
          <p:nvPr/>
        </p:nvSpPr>
        <p:spPr>
          <a:xfrm>
            <a:off x="5073396" y="6167147"/>
            <a:ext cx="14039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Warehousing</a:t>
            </a:r>
          </a:p>
        </p:txBody>
      </p:sp>
      <p:sp>
        <p:nvSpPr>
          <p:cNvPr id="1760" name="Oval 1759">
            <a:extLst>
              <a:ext uri="{FF2B5EF4-FFF2-40B4-BE49-F238E27FC236}">
                <a16:creationId xmlns:a16="http://schemas.microsoft.com/office/drawing/2014/main" id="{88DA3EDB-F13F-B7DF-7A75-14BA2C1851D5}"/>
              </a:ext>
            </a:extLst>
          </p:cNvPr>
          <p:cNvSpPr/>
          <p:nvPr/>
        </p:nvSpPr>
        <p:spPr>
          <a:xfrm>
            <a:off x="2013230" y="2748766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1776" name="Connector: Elbow 1775">
            <a:extLst>
              <a:ext uri="{FF2B5EF4-FFF2-40B4-BE49-F238E27FC236}">
                <a16:creationId xmlns:a16="http://schemas.microsoft.com/office/drawing/2014/main" id="{58C2B7F6-B4CF-4EDC-1565-78848DC30776}"/>
              </a:ext>
            </a:extLst>
          </p:cNvPr>
          <p:cNvCxnSpPr>
            <a:cxnSpLocks/>
          </p:cNvCxnSpPr>
          <p:nvPr/>
        </p:nvCxnSpPr>
        <p:spPr>
          <a:xfrm>
            <a:off x="3524989" y="1996400"/>
            <a:ext cx="814066" cy="451797"/>
          </a:xfrm>
          <a:prstGeom prst="bentConnector3">
            <a:avLst>
              <a:gd name="adj1" fmla="val 98719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2" name="Oval 1781">
            <a:extLst>
              <a:ext uri="{FF2B5EF4-FFF2-40B4-BE49-F238E27FC236}">
                <a16:creationId xmlns:a16="http://schemas.microsoft.com/office/drawing/2014/main" id="{C7ADCDFE-6901-3807-6180-609A78F3D0AA}"/>
              </a:ext>
            </a:extLst>
          </p:cNvPr>
          <p:cNvSpPr/>
          <p:nvPr/>
        </p:nvSpPr>
        <p:spPr>
          <a:xfrm>
            <a:off x="4310060" y="2459964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83" name="TextBox 1782">
            <a:extLst>
              <a:ext uri="{FF2B5EF4-FFF2-40B4-BE49-F238E27FC236}">
                <a16:creationId xmlns:a16="http://schemas.microsoft.com/office/drawing/2014/main" id="{5137B04E-EEA8-13DA-29BE-4772CAF776F0}"/>
              </a:ext>
            </a:extLst>
          </p:cNvPr>
          <p:cNvSpPr txBox="1"/>
          <p:nvPr/>
        </p:nvSpPr>
        <p:spPr>
          <a:xfrm>
            <a:off x="3007031" y="1098882"/>
            <a:ext cx="16890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Model Monitoring &amp; Version Control</a:t>
            </a:r>
          </a:p>
        </p:txBody>
      </p:sp>
      <p:cxnSp>
        <p:nvCxnSpPr>
          <p:cNvPr id="1788" name="Connector: Elbow 1787">
            <a:extLst>
              <a:ext uri="{FF2B5EF4-FFF2-40B4-BE49-F238E27FC236}">
                <a16:creationId xmlns:a16="http://schemas.microsoft.com/office/drawing/2014/main" id="{E739C2E0-1A54-E628-CE96-F375CAF22FC8}"/>
              </a:ext>
            </a:extLst>
          </p:cNvPr>
          <p:cNvCxnSpPr>
            <a:cxnSpLocks/>
          </p:cNvCxnSpPr>
          <p:nvPr/>
        </p:nvCxnSpPr>
        <p:spPr>
          <a:xfrm rot="10800000" flipV="1">
            <a:off x="6131962" y="1982317"/>
            <a:ext cx="2230221" cy="465875"/>
          </a:xfrm>
          <a:prstGeom prst="bentConnector3">
            <a:avLst>
              <a:gd name="adj1" fmla="val 100147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9" name="Oval 1788">
            <a:extLst>
              <a:ext uri="{FF2B5EF4-FFF2-40B4-BE49-F238E27FC236}">
                <a16:creationId xmlns:a16="http://schemas.microsoft.com/office/drawing/2014/main" id="{EC0041B0-A5E9-E6D5-1452-2EA26819FB3E}"/>
              </a:ext>
            </a:extLst>
          </p:cNvPr>
          <p:cNvSpPr/>
          <p:nvPr/>
        </p:nvSpPr>
        <p:spPr>
          <a:xfrm>
            <a:off x="6102960" y="2459964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95" name="TextBox 1794">
            <a:extLst>
              <a:ext uri="{FF2B5EF4-FFF2-40B4-BE49-F238E27FC236}">
                <a16:creationId xmlns:a16="http://schemas.microsoft.com/office/drawing/2014/main" id="{1A1BDBC1-BA70-778A-E466-E5F092EA1FAE}"/>
              </a:ext>
            </a:extLst>
          </p:cNvPr>
          <p:cNvSpPr txBox="1"/>
          <p:nvPr/>
        </p:nvSpPr>
        <p:spPr>
          <a:xfrm>
            <a:off x="6096000" y="1636806"/>
            <a:ext cx="23783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DS/ML Platforms</a:t>
            </a:r>
          </a:p>
        </p:txBody>
      </p:sp>
      <p:cxnSp>
        <p:nvCxnSpPr>
          <p:cNvPr id="1798" name="Connector: Elbow 1797">
            <a:extLst>
              <a:ext uri="{FF2B5EF4-FFF2-40B4-BE49-F238E27FC236}">
                <a16:creationId xmlns:a16="http://schemas.microsoft.com/office/drawing/2014/main" id="{12D0B8ED-E446-16C0-E972-1B3B7497B476}"/>
              </a:ext>
            </a:extLst>
          </p:cNvPr>
          <p:cNvCxnSpPr>
            <a:cxnSpLocks/>
          </p:cNvCxnSpPr>
          <p:nvPr/>
        </p:nvCxnSpPr>
        <p:spPr>
          <a:xfrm rot="10800000" flipV="1">
            <a:off x="8056597" y="2564706"/>
            <a:ext cx="1550812" cy="273661"/>
          </a:xfrm>
          <a:prstGeom prst="bentConnector3">
            <a:avLst>
              <a:gd name="adj1" fmla="val 65287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7" name="TextBox 1806">
            <a:extLst>
              <a:ext uri="{FF2B5EF4-FFF2-40B4-BE49-F238E27FC236}">
                <a16:creationId xmlns:a16="http://schemas.microsoft.com/office/drawing/2014/main" id="{04B1D9F0-ABAE-4704-640A-E689EE29C10E}"/>
              </a:ext>
            </a:extLst>
          </p:cNvPr>
          <p:cNvSpPr txBox="1"/>
          <p:nvPr/>
        </p:nvSpPr>
        <p:spPr>
          <a:xfrm>
            <a:off x="8658599" y="2002814"/>
            <a:ext cx="11479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Cloud Platform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B098B1-D93E-ED79-31CD-40BBE854D83F}"/>
              </a:ext>
            </a:extLst>
          </p:cNvPr>
          <p:cNvPicPr>
            <a:picLocks noChangeAspect="1"/>
          </p:cNvPicPr>
          <p:nvPr/>
        </p:nvPicPr>
        <p:blipFill>
          <a:blip r:embed="rId70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05059" y="5295736"/>
            <a:ext cx="689455" cy="248867"/>
          </a:xfrm>
          <a:prstGeom prst="rect">
            <a:avLst/>
          </a:prstGeom>
        </p:spPr>
      </p:pic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6160A600-5075-2EBA-05D9-6C498876C400}"/>
              </a:ext>
            </a:extLst>
          </p:cNvPr>
          <p:cNvCxnSpPr>
            <a:cxnSpLocks/>
          </p:cNvCxnSpPr>
          <p:nvPr/>
        </p:nvCxnSpPr>
        <p:spPr>
          <a:xfrm rot="10800000">
            <a:off x="6602509" y="4861790"/>
            <a:ext cx="1097280" cy="130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0D848434-B9FE-92AE-2E10-1A6F2431ED39}"/>
              </a:ext>
            </a:extLst>
          </p:cNvPr>
          <p:cNvSpPr txBox="1"/>
          <p:nvPr/>
        </p:nvSpPr>
        <p:spPr>
          <a:xfrm>
            <a:off x="6174590" y="4477334"/>
            <a:ext cx="14039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Cloud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E2CE76C-E29F-B40F-A3E2-2C22290CB71C}"/>
              </a:ext>
            </a:extLst>
          </p:cNvPr>
          <p:cNvPicPr>
            <a:picLocks noChangeAspect="1"/>
          </p:cNvPicPr>
          <p:nvPr/>
        </p:nvPicPr>
        <p:blipFill>
          <a:blip r:embed="rId71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108083" y="3664824"/>
            <a:ext cx="527154" cy="45122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70CEC74-B130-D749-502B-60577EC803F2}"/>
              </a:ext>
            </a:extLst>
          </p:cNvPr>
          <p:cNvPicPr>
            <a:picLocks noChangeAspect="1"/>
          </p:cNvPicPr>
          <p:nvPr/>
        </p:nvPicPr>
        <p:blipFill>
          <a:blip r:embed="rId7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639980" y="2197775"/>
            <a:ext cx="570555" cy="292546"/>
          </a:xfrm>
          <a:prstGeom prst="rect">
            <a:avLst/>
          </a:prstGeom>
          <a:ln>
            <a:solidFill>
              <a:srgbClr val="1F9CD8"/>
            </a:solidFill>
          </a:ln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F4E61229-64EC-3AEE-B4B4-C2AB6A6E90EA}"/>
              </a:ext>
            </a:extLst>
          </p:cNvPr>
          <p:cNvGrpSpPr/>
          <p:nvPr/>
        </p:nvGrpSpPr>
        <p:grpSpPr>
          <a:xfrm>
            <a:off x="7298094" y="2431273"/>
            <a:ext cx="862349" cy="407274"/>
            <a:chOff x="10851588" y="1391836"/>
            <a:chExt cx="862349" cy="407274"/>
          </a:xfrm>
        </p:grpSpPr>
        <p:pic>
          <p:nvPicPr>
            <p:cNvPr id="1559" name="Google Shape;71;p13">
              <a:extLst>
                <a:ext uri="{FF2B5EF4-FFF2-40B4-BE49-F238E27FC236}">
                  <a16:creationId xmlns:a16="http://schemas.microsoft.com/office/drawing/2014/main" id="{EE510B1C-B9C6-2E7B-E5B4-F524896CD289}"/>
                </a:ext>
              </a:extLst>
            </p:cNvPr>
            <p:cNvPicPr preferRelativeResize="0"/>
            <p:nvPr/>
          </p:nvPicPr>
          <p:blipFill rotWithShape="1">
            <a:blip r:embed="rId73">
              <a:alphaModFix/>
              <a:extLst>
                <a:ext uri="{BEBA8EAE-BF5A-486C-A8C5-ECC9F3942E4B}">
                  <a14:imgProps xmlns:a14="http://schemas.microsoft.com/office/drawing/2010/main">
                    <a14:imgLayer r:embed="rId74">
                      <a14:imgEffect>
                        <a14:saturation sat="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38746"/>
            <a:stretch/>
          </p:blipFill>
          <p:spPr>
            <a:xfrm>
              <a:off x="11214992" y="1391836"/>
              <a:ext cx="498945" cy="40727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381E2666-0D19-6788-E399-BB0CC81CA0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</a:blip>
            <a:srcRect l="37971" t="16442" r="39448" b="38183"/>
            <a:stretch/>
          </p:blipFill>
          <p:spPr>
            <a:xfrm>
              <a:off x="10851588" y="1445004"/>
              <a:ext cx="336470" cy="300938"/>
            </a:xfrm>
            <a:prstGeom prst="rect">
              <a:avLst/>
            </a:prstGeom>
          </p:spPr>
        </p:pic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2DF53D4C-C117-E042-683F-1BACCDC16701}"/>
              </a:ext>
            </a:extLst>
          </p:cNvPr>
          <p:cNvPicPr>
            <a:picLocks noChangeAspect="1"/>
          </p:cNvPicPr>
          <p:nvPr/>
        </p:nvPicPr>
        <p:blipFill>
          <a:blip r:embed="rId7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80564" y="2328424"/>
            <a:ext cx="473675" cy="1427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F27E7F2-25AE-9DAA-B851-94D2DCCFE9BE}"/>
              </a:ext>
            </a:extLst>
          </p:cNvPr>
          <p:cNvPicPr>
            <a:picLocks noChangeAspect="1"/>
          </p:cNvPicPr>
          <p:nvPr/>
        </p:nvPicPr>
        <p:blipFill>
          <a:blip r:embed="rId77">
            <a:clrChange>
              <a:clrFrom>
                <a:srgbClr val="666666"/>
              </a:clrFrom>
              <a:clrTo>
                <a:srgbClr val="66666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937992" y="2547927"/>
            <a:ext cx="822960" cy="154504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E53B9D39-A6CA-6CA3-B2F4-C293F48295FE}"/>
              </a:ext>
            </a:extLst>
          </p:cNvPr>
          <p:cNvGrpSpPr/>
          <p:nvPr/>
        </p:nvGrpSpPr>
        <p:grpSpPr>
          <a:xfrm>
            <a:off x="6001430" y="2868008"/>
            <a:ext cx="1095073" cy="322028"/>
            <a:chOff x="9943178" y="868422"/>
            <a:chExt cx="1095073" cy="322028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EEB676C9-1E37-479D-A726-CB4FAA806B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8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rcRect b="29445"/>
            <a:stretch/>
          </p:blipFill>
          <p:spPr>
            <a:xfrm>
              <a:off x="9943178" y="868422"/>
              <a:ext cx="464212" cy="275975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0A5E425-D0A1-81DC-F767-EE18D5A0E8B3}"/>
                </a:ext>
              </a:extLst>
            </p:cNvPr>
            <p:cNvSpPr txBox="1"/>
            <p:nvPr/>
          </p:nvSpPr>
          <p:spPr>
            <a:xfrm>
              <a:off x="10167500" y="944229"/>
              <a:ext cx="87075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Data Robot</a:t>
              </a: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42605648-E27F-1B0B-336F-745D715A85C6}"/>
              </a:ext>
            </a:extLst>
          </p:cNvPr>
          <p:cNvSpPr/>
          <p:nvPr/>
        </p:nvSpPr>
        <p:spPr>
          <a:xfrm>
            <a:off x="10339666" y="1634242"/>
            <a:ext cx="1891792" cy="1418751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3A82911-8494-C838-5D96-9E89172D546A}"/>
              </a:ext>
            </a:extLst>
          </p:cNvPr>
          <p:cNvGrpSpPr/>
          <p:nvPr/>
        </p:nvGrpSpPr>
        <p:grpSpPr>
          <a:xfrm>
            <a:off x="2590378" y="4417622"/>
            <a:ext cx="827007" cy="258887"/>
            <a:chOff x="3303032" y="3897378"/>
            <a:chExt cx="827007" cy="258887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ABE25FB7-6E62-D2CB-EF3D-E6BF2D458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7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</a:blip>
            <a:stretch>
              <a:fillRect/>
            </a:stretch>
          </p:blipFill>
          <p:spPr>
            <a:xfrm>
              <a:off x="3303032" y="3897378"/>
              <a:ext cx="258887" cy="258887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E944C576-73E8-82F6-0DA7-F9E0AB51994B}"/>
                </a:ext>
              </a:extLst>
            </p:cNvPr>
            <p:cNvSpPr txBox="1"/>
            <p:nvPr/>
          </p:nvSpPr>
          <p:spPr>
            <a:xfrm>
              <a:off x="3509356" y="3915160"/>
              <a:ext cx="62068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>
                  <a:solidFill>
                    <a:schemeClr val="bg1"/>
                  </a:solidFill>
                </a:rPr>
                <a:t>Seaborn</a:t>
              </a:r>
            </a:p>
          </p:txBody>
        </p:sp>
      </p:grpSp>
      <p:pic>
        <p:nvPicPr>
          <p:cNvPr id="40" name="Picture 39">
            <a:extLst>
              <a:ext uri="{FF2B5EF4-FFF2-40B4-BE49-F238E27FC236}">
                <a16:creationId xmlns:a16="http://schemas.microsoft.com/office/drawing/2014/main" id="{61864965-E2C9-8C6C-03E3-1FD36058DE02}"/>
              </a:ext>
            </a:extLst>
          </p:cNvPr>
          <p:cNvPicPr>
            <a:picLocks noChangeAspect="1"/>
          </p:cNvPicPr>
          <p:nvPr/>
        </p:nvPicPr>
        <p:blipFill>
          <a:blip r:embed="rId8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2455939" y="4191244"/>
            <a:ext cx="815514" cy="162130"/>
          </a:xfrm>
          <a:prstGeom prst="rect">
            <a:avLst/>
          </a:prstGeom>
        </p:spPr>
      </p:pic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52E51A0A-7320-0E82-0BC3-BBBC41743232}"/>
              </a:ext>
            </a:extLst>
          </p:cNvPr>
          <p:cNvCxnSpPr>
            <a:cxnSpLocks/>
          </p:cNvCxnSpPr>
          <p:nvPr/>
        </p:nvCxnSpPr>
        <p:spPr>
          <a:xfrm rot="10800000">
            <a:off x="7392846" y="3882747"/>
            <a:ext cx="1888958" cy="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2" name="TextBox 1791">
            <a:extLst>
              <a:ext uri="{FF2B5EF4-FFF2-40B4-BE49-F238E27FC236}">
                <a16:creationId xmlns:a16="http://schemas.microsoft.com/office/drawing/2014/main" id="{7594BA9E-58F5-D62E-F278-1654B73868D9}"/>
              </a:ext>
            </a:extLst>
          </p:cNvPr>
          <p:cNvSpPr txBox="1"/>
          <p:nvPr/>
        </p:nvSpPr>
        <p:spPr>
          <a:xfrm>
            <a:off x="7543526" y="3490900"/>
            <a:ext cx="16890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Interface</a:t>
            </a:r>
          </a:p>
        </p:txBody>
      </p:sp>
      <p:grpSp>
        <p:nvGrpSpPr>
          <p:cNvPr id="1794" name="Group 1793">
            <a:extLst>
              <a:ext uri="{FF2B5EF4-FFF2-40B4-BE49-F238E27FC236}">
                <a16:creationId xmlns:a16="http://schemas.microsoft.com/office/drawing/2014/main" id="{2DC61B51-43DE-9666-B33D-D83F29B97FD3}"/>
              </a:ext>
            </a:extLst>
          </p:cNvPr>
          <p:cNvGrpSpPr/>
          <p:nvPr/>
        </p:nvGrpSpPr>
        <p:grpSpPr>
          <a:xfrm>
            <a:off x="7467609" y="2961365"/>
            <a:ext cx="855545" cy="335611"/>
            <a:chOff x="8180860" y="2449557"/>
            <a:chExt cx="855545" cy="335611"/>
          </a:xfrm>
        </p:grpSpPr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D615255A-509C-0376-DEA2-04A04D41B1F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25000"/>
            </a:blip>
            <a:stretch>
              <a:fillRect/>
            </a:stretch>
          </p:blipFill>
          <p:spPr>
            <a:xfrm>
              <a:off x="8180860" y="2449557"/>
              <a:ext cx="337109" cy="335611"/>
            </a:xfrm>
            <a:prstGeom prst="rect">
              <a:avLst/>
            </a:prstGeom>
          </p:spPr>
        </p:pic>
        <p:sp>
          <p:nvSpPr>
            <p:cNvPr id="1793" name="TextBox 1792">
              <a:extLst>
                <a:ext uri="{FF2B5EF4-FFF2-40B4-BE49-F238E27FC236}">
                  <a16:creationId xmlns:a16="http://schemas.microsoft.com/office/drawing/2014/main" id="{99F47F04-5D45-32D3-4458-5339A2D900DE}"/>
                </a:ext>
              </a:extLst>
            </p:cNvPr>
            <p:cNvSpPr txBox="1"/>
            <p:nvPr/>
          </p:nvSpPr>
          <p:spPr>
            <a:xfrm>
              <a:off x="8398089" y="2460381"/>
              <a:ext cx="63831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b="1" dirty="0" err="1">
                  <a:solidFill>
                    <a:schemeClr val="bg1"/>
                  </a:solidFill>
                  <a:latin typeface="Abadi Extra Light" panose="020B0604020202020204" pitchFamily="34" charset="0"/>
                </a:rPr>
                <a:t>VertexAI</a:t>
              </a:r>
              <a:endParaRPr lang="en-US" sz="1100" b="1" dirty="0">
                <a:solidFill>
                  <a:schemeClr val="bg1"/>
                </a:solidFill>
                <a:latin typeface="Abadi Extra Light" panose="020B0604020202020204" pitchFamily="34" charset="0"/>
              </a:endParaRPr>
            </a:p>
          </p:txBody>
        </p:sp>
      </p:grpSp>
      <p:pic>
        <p:nvPicPr>
          <p:cNvPr id="1797" name="Picture 1796">
            <a:extLst>
              <a:ext uri="{FF2B5EF4-FFF2-40B4-BE49-F238E27FC236}">
                <a16:creationId xmlns:a16="http://schemas.microsoft.com/office/drawing/2014/main" id="{08EE0657-292B-FA29-B132-A3B236945F69}"/>
              </a:ext>
            </a:extLst>
          </p:cNvPr>
          <p:cNvPicPr>
            <a:picLocks noChangeAspect="1"/>
          </p:cNvPicPr>
          <p:nvPr/>
        </p:nvPicPr>
        <p:blipFill rotWithShape="1">
          <a:blip r:embed="rId81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r="42242"/>
          <a:stretch/>
        </p:blipFill>
        <p:spPr>
          <a:xfrm>
            <a:off x="6890391" y="3077913"/>
            <a:ext cx="615940" cy="341149"/>
          </a:xfrm>
          <a:prstGeom prst="rect">
            <a:avLst/>
          </a:prstGeom>
        </p:spPr>
      </p:pic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2842F429-5E34-58A9-1DF9-88AFA625365D}"/>
              </a:ext>
            </a:extLst>
          </p:cNvPr>
          <p:cNvGrpSpPr/>
          <p:nvPr/>
        </p:nvGrpSpPr>
        <p:grpSpPr>
          <a:xfrm>
            <a:off x="2997855" y="2396343"/>
            <a:ext cx="481222" cy="520597"/>
            <a:chOff x="10512576" y="3055475"/>
            <a:chExt cx="481222" cy="520597"/>
          </a:xfrm>
        </p:grpSpPr>
        <p:pic>
          <p:nvPicPr>
            <p:cNvPr id="1631" name="Picture 26" descr="GitHub - OryxProject/oryx: Oryx 2: Lambda architecture on Apache Spark,  Apache Kafka for real-time large scale machine learning">
              <a:extLst>
                <a:ext uri="{FF2B5EF4-FFF2-40B4-BE49-F238E27FC236}">
                  <a16:creationId xmlns:a16="http://schemas.microsoft.com/office/drawing/2014/main" id="{D91FB529-D0FD-DCA2-387D-C336D6535D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2">
              <a:extLst>
                <a:ext uri="{BEBA8EAE-BF5A-486C-A8C5-ECC9F3942E4B}">
                  <a14:imgProps xmlns:a14="http://schemas.microsoft.com/office/drawing/2010/main">
                    <a14:imgLayer r:embed="rId8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59147" y="3055475"/>
              <a:ext cx="340703" cy="340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00" name="TextBox 1799">
              <a:extLst>
                <a:ext uri="{FF2B5EF4-FFF2-40B4-BE49-F238E27FC236}">
                  <a16:creationId xmlns:a16="http://schemas.microsoft.com/office/drawing/2014/main" id="{C4195D57-3C09-ECA3-7965-9879452F1F70}"/>
                </a:ext>
              </a:extLst>
            </p:cNvPr>
            <p:cNvSpPr txBox="1"/>
            <p:nvPr/>
          </p:nvSpPr>
          <p:spPr>
            <a:xfrm>
              <a:off x="10512576" y="3314462"/>
              <a:ext cx="48122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dirty="0">
                  <a:solidFill>
                    <a:schemeClr val="bg1"/>
                  </a:solidFill>
                </a:rPr>
                <a:t>Oryx</a:t>
              </a:r>
            </a:p>
          </p:txBody>
        </p:sp>
      </p:grpSp>
      <p:pic>
        <p:nvPicPr>
          <p:cNvPr id="1831" name="Google Shape;72;p13">
            <a:extLst>
              <a:ext uri="{FF2B5EF4-FFF2-40B4-BE49-F238E27FC236}">
                <a16:creationId xmlns:a16="http://schemas.microsoft.com/office/drawing/2014/main" id="{7BBCC458-6223-8AA3-21F1-9E941CAE8505}"/>
              </a:ext>
            </a:extLst>
          </p:cNvPr>
          <p:cNvPicPr preferRelativeResize="0"/>
          <p:nvPr/>
        </p:nvPicPr>
        <p:blipFill>
          <a:blip r:embed="rId84">
            <a:alphaModFix/>
            <a:extLst>
              <a:ext uri="{BEBA8EAE-BF5A-486C-A8C5-ECC9F3942E4B}">
                <a14:imgProps xmlns:a14="http://schemas.microsoft.com/office/drawing/2010/main">
                  <a14:imgLayer r:embed="rId8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285562" y="2169809"/>
            <a:ext cx="786049" cy="442159"/>
          </a:xfrm>
          <a:prstGeom prst="rect">
            <a:avLst/>
          </a:prstGeom>
          <a:noFill/>
          <a:ln>
            <a:noFill/>
          </a:ln>
        </p:spPr>
      </p:pic>
      <p:pic>
        <p:nvPicPr>
          <p:cNvPr id="1832" name="Google Shape;74;p13">
            <a:extLst>
              <a:ext uri="{FF2B5EF4-FFF2-40B4-BE49-F238E27FC236}">
                <a16:creationId xmlns:a16="http://schemas.microsoft.com/office/drawing/2014/main" id="{AA748F33-C576-2156-54F2-097FF56D374E}"/>
              </a:ext>
            </a:extLst>
          </p:cNvPr>
          <p:cNvPicPr preferRelativeResize="0"/>
          <p:nvPr/>
        </p:nvPicPr>
        <p:blipFill>
          <a:blip r:embed="rId86">
            <a:alphaModFix/>
            <a:extLst>
              <a:ext uri="{BEBA8EAE-BF5A-486C-A8C5-ECC9F3942E4B}">
                <a14:imgProps xmlns:a14="http://schemas.microsoft.com/office/drawing/2010/main">
                  <a14:imgLayer r:embed="rId8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98409" y="2072345"/>
            <a:ext cx="611249" cy="247127"/>
          </a:xfrm>
          <a:prstGeom prst="rect">
            <a:avLst/>
          </a:prstGeom>
          <a:noFill/>
          <a:ln>
            <a:noFill/>
          </a:ln>
        </p:spPr>
      </p:pic>
      <p:pic>
        <p:nvPicPr>
          <p:cNvPr id="1833" name="Google Shape;75;p13">
            <a:extLst>
              <a:ext uri="{FF2B5EF4-FFF2-40B4-BE49-F238E27FC236}">
                <a16:creationId xmlns:a16="http://schemas.microsoft.com/office/drawing/2014/main" id="{961E1B36-08CF-FEFA-7ACD-A13E026E01F4}"/>
              </a:ext>
            </a:extLst>
          </p:cNvPr>
          <p:cNvPicPr preferRelativeResize="0"/>
          <p:nvPr/>
        </p:nvPicPr>
        <p:blipFill>
          <a:blip r:embed="rId88">
            <a:alphaModFix/>
            <a:extLst>
              <a:ext uri="{BEBA8EAE-BF5A-486C-A8C5-ECC9F3942E4B}">
                <a14:imgProps xmlns:a14="http://schemas.microsoft.com/office/drawing/2010/main">
                  <a14:imgLayer r:embed="rId89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56211" y="1727355"/>
            <a:ext cx="605306" cy="2725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834" name="Google Shape;77;p13">
            <a:extLst>
              <a:ext uri="{FF2B5EF4-FFF2-40B4-BE49-F238E27FC236}">
                <a16:creationId xmlns:a16="http://schemas.microsoft.com/office/drawing/2014/main" id="{7A12F445-59DE-8BF5-D383-182D6A2B1CDC}"/>
              </a:ext>
            </a:extLst>
          </p:cNvPr>
          <p:cNvPicPr preferRelativeResize="0"/>
          <p:nvPr/>
        </p:nvPicPr>
        <p:blipFill>
          <a:blip r:embed="rId90">
            <a:alphaModFix/>
            <a:extLst>
              <a:ext uri="{BEBA8EAE-BF5A-486C-A8C5-ECC9F3942E4B}">
                <a14:imgProps xmlns:a14="http://schemas.microsoft.com/office/drawing/2010/main">
                  <a14:imgLayer r:embed="rId91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505420" y="2726128"/>
            <a:ext cx="314808" cy="243945"/>
          </a:xfrm>
          <a:prstGeom prst="rect">
            <a:avLst/>
          </a:prstGeom>
          <a:noFill/>
          <a:ln>
            <a:noFill/>
          </a:ln>
        </p:spPr>
      </p:pic>
      <p:sp>
        <p:nvSpPr>
          <p:cNvPr id="1839" name="Rectangle 1838">
            <a:extLst>
              <a:ext uri="{FF2B5EF4-FFF2-40B4-BE49-F238E27FC236}">
                <a16:creationId xmlns:a16="http://schemas.microsoft.com/office/drawing/2014/main" id="{5A9D918C-812F-F69D-2466-A1C3C9A135B7}"/>
              </a:ext>
            </a:extLst>
          </p:cNvPr>
          <p:cNvSpPr/>
          <p:nvPr/>
        </p:nvSpPr>
        <p:spPr>
          <a:xfrm>
            <a:off x="5629711" y="3440609"/>
            <a:ext cx="1891792" cy="835788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40" name="Rectangle 1839">
            <a:extLst>
              <a:ext uri="{FF2B5EF4-FFF2-40B4-BE49-F238E27FC236}">
                <a16:creationId xmlns:a16="http://schemas.microsoft.com/office/drawing/2014/main" id="{5978E885-67FF-BD00-7B29-23B35B2873CE}"/>
              </a:ext>
            </a:extLst>
          </p:cNvPr>
          <p:cNvSpPr/>
          <p:nvPr/>
        </p:nvSpPr>
        <p:spPr>
          <a:xfrm>
            <a:off x="8768048" y="4539356"/>
            <a:ext cx="3000025" cy="165336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1" name="TextBox 1840">
            <a:extLst>
              <a:ext uri="{FF2B5EF4-FFF2-40B4-BE49-F238E27FC236}">
                <a16:creationId xmlns:a16="http://schemas.microsoft.com/office/drawing/2014/main" id="{3F621413-D1B9-ADD8-A01B-0942835542B3}"/>
              </a:ext>
            </a:extLst>
          </p:cNvPr>
          <p:cNvSpPr txBox="1"/>
          <p:nvPr/>
        </p:nvSpPr>
        <p:spPr>
          <a:xfrm>
            <a:off x="9937486" y="1292892"/>
            <a:ext cx="23783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Statistics</a:t>
            </a:r>
          </a:p>
        </p:txBody>
      </p:sp>
      <p:sp>
        <p:nvSpPr>
          <p:cNvPr id="1842" name="TextBox 1841">
            <a:extLst>
              <a:ext uri="{FF2B5EF4-FFF2-40B4-BE49-F238E27FC236}">
                <a16:creationId xmlns:a16="http://schemas.microsoft.com/office/drawing/2014/main" id="{FE5C53C0-F4A7-CEC6-F21B-4705707E8445}"/>
              </a:ext>
            </a:extLst>
          </p:cNvPr>
          <p:cNvSpPr txBox="1"/>
          <p:nvPr/>
        </p:nvSpPr>
        <p:spPr>
          <a:xfrm>
            <a:off x="8825173" y="4289780"/>
            <a:ext cx="23783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Machine Learning</a:t>
            </a:r>
          </a:p>
        </p:txBody>
      </p:sp>
      <p:sp>
        <p:nvSpPr>
          <p:cNvPr id="1843" name="Freeform: Shape 1842">
            <a:extLst>
              <a:ext uri="{FF2B5EF4-FFF2-40B4-BE49-F238E27FC236}">
                <a16:creationId xmlns:a16="http://schemas.microsoft.com/office/drawing/2014/main" id="{ECE6558F-6644-4F78-F95A-4B2D5E0A5049}"/>
              </a:ext>
            </a:extLst>
          </p:cNvPr>
          <p:cNvSpPr/>
          <p:nvPr/>
        </p:nvSpPr>
        <p:spPr>
          <a:xfrm>
            <a:off x="9588653" y="6161387"/>
            <a:ext cx="5611" cy="8355"/>
          </a:xfrm>
          <a:custGeom>
            <a:avLst/>
            <a:gdLst>
              <a:gd name="connsiteX0" fmla="*/ 5611 w 5611"/>
              <a:gd name="connsiteY0" fmla="*/ 1342 h 8355"/>
              <a:gd name="connsiteX1" fmla="*/ 4818 w 5611"/>
              <a:gd name="connsiteY1" fmla="*/ 0 h 8355"/>
              <a:gd name="connsiteX2" fmla="*/ 0 w 5611"/>
              <a:gd name="connsiteY2" fmla="*/ 8355 h 8355"/>
              <a:gd name="connsiteX3" fmla="*/ 1769 w 5611"/>
              <a:gd name="connsiteY3" fmla="*/ 8355 h 8355"/>
              <a:gd name="connsiteX4" fmla="*/ 5611 w 5611"/>
              <a:gd name="connsiteY4" fmla="*/ 1342 h 8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1" h="8355">
                <a:moveTo>
                  <a:pt x="5611" y="1342"/>
                </a:moveTo>
                <a:cubicBezTo>
                  <a:pt x="5367" y="915"/>
                  <a:pt x="5062" y="488"/>
                  <a:pt x="4818" y="0"/>
                </a:cubicBezTo>
                <a:cubicBezTo>
                  <a:pt x="3354" y="2866"/>
                  <a:pt x="1708" y="5611"/>
                  <a:pt x="0" y="8355"/>
                </a:cubicBezTo>
                <a:lnTo>
                  <a:pt x="1769" y="8355"/>
                </a:lnTo>
                <a:cubicBezTo>
                  <a:pt x="3110" y="6038"/>
                  <a:pt x="4391" y="3720"/>
                  <a:pt x="5611" y="1342"/>
                </a:cubicBezTo>
                <a:close/>
              </a:path>
            </a:pathLst>
          </a:custGeom>
          <a:solidFill>
            <a:srgbClr val="0005C3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844" name="Freeform: Shape 1843">
            <a:extLst>
              <a:ext uri="{FF2B5EF4-FFF2-40B4-BE49-F238E27FC236}">
                <a16:creationId xmlns:a16="http://schemas.microsoft.com/office/drawing/2014/main" id="{1A62C38E-DF9B-52CA-502C-8E30731AB691}"/>
              </a:ext>
            </a:extLst>
          </p:cNvPr>
          <p:cNvSpPr/>
          <p:nvPr/>
        </p:nvSpPr>
        <p:spPr>
          <a:xfrm>
            <a:off x="9593410" y="6105095"/>
            <a:ext cx="14271" cy="57695"/>
          </a:xfrm>
          <a:custGeom>
            <a:avLst/>
            <a:gdLst>
              <a:gd name="connsiteX0" fmla="*/ 14271 w 14271"/>
              <a:gd name="connsiteY0" fmla="*/ 1403 h 57695"/>
              <a:gd name="connsiteX1" fmla="*/ 14210 w 14271"/>
              <a:gd name="connsiteY1" fmla="*/ 0 h 57695"/>
              <a:gd name="connsiteX2" fmla="*/ 0 w 14271"/>
              <a:gd name="connsiteY2" fmla="*/ 56353 h 57695"/>
              <a:gd name="connsiteX3" fmla="*/ 793 w 14271"/>
              <a:gd name="connsiteY3" fmla="*/ 57695 h 57695"/>
              <a:gd name="connsiteX4" fmla="*/ 14210 w 14271"/>
              <a:gd name="connsiteY4" fmla="*/ 1464 h 57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71" h="57695">
                <a:moveTo>
                  <a:pt x="14271" y="1403"/>
                </a:moveTo>
                <a:cubicBezTo>
                  <a:pt x="14271" y="915"/>
                  <a:pt x="14210" y="427"/>
                  <a:pt x="14210" y="0"/>
                </a:cubicBezTo>
                <a:cubicBezTo>
                  <a:pt x="13966" y="20309"/>
                  <a:pt x="8843" y="39460"/>
                  <a:pt x="0" y="56353"/>
                </a:cubicBezTo>
                <a:cubicBezTo>
                  <a:pt x="244" y="56780"/>
                  <a:pt x="549" y="57207"/>
                  <a:pt x="793" y="57695"/>
                </a:cubicBezTo>
                <a:cubicBezTo>
                  <a:pt x="9331" y="40801"/>
                  <a:pt x="14210" y="21712"/>
                  <a:pt x="14210" y="1464"/>
                </a:cubicBezTo>
                <a:close/>
              </a:path>
            </a:pathLst>
          </a:custGeom>
          <a:solidFill>
            <a:srgbClr val="0005C3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845" name="Freeform: Shape 1844">
            <a:extLst>
              <a:ext uri="{FF2B5EF4-FFF2-40B4-BE49-F238E27FC236}">
                <a16:creationId xmlns:a16="http://schemas.microsoft.com/office/drawing/2014/main" id="{1D6E3659-481B-5A10-7F3F-DD728777E785}"/>
              </a:ext>
            </a:extLst>
          </p:cNvPr>
          <p:cNvSpPr/>
          <p:nvPr/>
        </p:nvSpPr>
        <p:spPr>
          <a:xfrm>
            <a:off x="9581212" y="6169743"/>
            <a:ext cx="9209" cy="10733"/>
          </a:xfrm>
          <a:custGeom>
            <a:avLst/>
            <a:gdLst>
              <a:gd name="connsiteX0" fmla="*/ 0 w 9209"/>
              <a:gd name="connsiteY0" fmla="*/ 10734 h 10733"/>
              <a:gd name="connsiteX1" fmla="*/ 2135 w 9209"/>
              <a:gd name="connsiteY1" fmla="*/ 10734 h 10733"/>
              <a:gd name="connsiteX2" fmla="*/ 9209 w 9209"/>
              <a:gd name="connsiteY2" fmla="*/ 0 h 10733"/>
              <a:gd name="connsiteX3" fmla="*/ 7441 w 9209"/>
              <a:gd name="connsiteY3" fmla="*/ 0 h 10733"/>
              <a:gd name="connsiteX4" fmla="*/ 305 w 9209"/>
              <a:gd name="connsiteY4" fmla="*/ 10368 h 10733"/>
              <a:gd name="connsiteX5" fmla="*/ 61 w 9209"/>
              <a:gd name="connsiteY5" fmla="*/ 10673 h 10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09" h="10733">
                <a:moveTo>
                  <a:pt x="0" y="10734"/>
                </a:moveTo>
                <a:lnTo>
                  <a:pt x="2135" y="10734"/>
                </a:lnTo>
                <a:cubicBezTo>
                  <a:pt x="4635" y="7319"/>
                  <a:pt x="7014" y="3720"/>
                  <a:pt x="9209" y="0"/>
                </a:cubicBezTo>
                <a:lnTo>
                  <a:pt x="7441" y="0"/>
                </a:lnTo>
                <a:cubicBezTo>
                  <a:pt x="5184" y="3537"/>
                  <a:pt x="2866" y="7075"/>
                  <a:pt x="305" y="10368"/>
                </a:cubicBezTo>
                <a:lnTo>
                  <a:pt x="61" y="10673"/>
                </a:lnTo>
                <a:close/>
              </a:path>
            </a:pathLst>
          </a:custGeom>
          <a:solidFill>
            <a:srgbClr val="BD6A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846" name="Google Shape;64;p13">
            <a:extLst>
              <a:ext uri="{FF2B5EF4-FFF2-40B4-BE49-F238E27FC236}">
                <a16:creationId xmlns:a16="http://schemas.microsoft.com/office/drawing/2014/main" id="{742096F6-3293-B79E-512B-B4BFF8FE7081}"/>
              </a:ext>
            </a:extLst>
          </p:cNvPr>
          <p:cNvPicPr preferRelativeResize="0"/>
          <p:nvPr/>
        </p:nvPicPr>
        <p:blipFill>
          <a:blip r:embed="rId92">
            <a:alphaModFix/>
            <a:extLst>
              <a:ext uri="{BEBA8EAE-BF5A-486C-A8C5-ECC9F3942E4B}">
                <a14:imgProps xmlns:a14="http://schemas.microsoft.com/office/drawing/2010/main">
                  <a14:imgLayer r:embed="rId9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018367" y="5117061"/>
            <a:ext cx="556343" cy="137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847" name="Google Shape;68;p13">
            <a:extLst>
              <a:ext uri="{FF2B5EF4-FFF2-40B4-BE49-F238E27FC236}">
                <a16:creationId xmlns:a16="http://schemas.microsoft.com/office/drawing/2014/main" id="{C85F0594-AAAD-EE0E-B3E5-31767682D47B}"/>
              </a:ext>
            </a:extLst>
          </p:cNvPr>
          <p:cNvPicPr preferRelativeResize="0"/>
          <p:nvPr/>
        </p:nvPicPr>
        <p:blipFill>
          <a:blip r:embed="rId94">
            <a:alphaModFix/>
            <a:extLst>
              <a:ext uri="{BEBA8EAE-BF5A-486C-A8C5-ECC9F3942E4B}">
                <a14:imgProps xmlns:a14="http://schemas.microsoft.com/office/drawing/2010/main">
                  <a14:imgLayer r:embed="rId95">
                    <a14:imgEffect>
                      <a14:backgroundRemoval t="9770" b="89943" l="5083" r="90000">
                        <a14:foregroundMark x1="26500" y1="50287" x2="26500" y2="50287"/>
                        <a14:foregroundMark x1="24667" y1="47126" x2="24167" y2="22989"/>
                        <a14:foregroundMark x1="5083" y1="27874" x2="5083" y2="27874"/>
                        <a14:foregroundMark x1="6000" y1="18103" x2="6917" y2="16667"/>
                        <a14:foregroundMark x1="5083" y1="32759" x2="5500" y2="77874"/>
                        <a14:foregroundMark x1="54500" y1="55172" x2="54500" y2="55172"/>
                        <a14:foregroundMark x1="64833" y1="60057" x2="64833" y2="60057"/>
                        <a14:foregroundMark x1="77417" y1="39080" x2="77417" y2="39080"/>
                        <a14:foregroundMark x1="85833" y1="48851" x2="85833" y2="48851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743490" y="5510565"/>
            <a:ext cx="544243" cy="157828"/>
          </a:xfrm>
          <a:prstGeom prst="rect">
            <a:avLst/>
          </a:prstGeom>
          <a:noFill/>
          <a:ln>
            <a:noFill/>
          </a:ln>
        </p:spPr>
      </p:pic>
      <p:pic>
        <p:nvPicPr>
          <p:cNvPr id="1848" name="Google Shape;70;p13">
            <a:extLst>
              <a:ext uri="{FF2B5EF4-FFF2-40B4-BE49-F238E27FC236}">
                <a16:creationId xmlns:a16="http://schemas.microsoft.com/office/drawing/2014/main" id="{8270347D-AAE2-3C67-E00F-2D01AD11F023}"/>
              </a:ext>
            </a:extLst>
          </p:cNvPr>
          <p:cNvPicPr preferRelativeResize="0"/>
          <p:nvPr/>
        </p:nvPicPr>
        <p:blipFill>
          <a:blip r:embed="rId96">
            <a:alphaModFix/>
            <a:extLst>
              <a:ext uri="{BEBA8EAE-BF5A-486C-A8C5-ECC9F3942E4B}">
                <a14:imgProps xmlns:a14="http://schemas.microsoft.com/office/drawing/2010/main">
                  <a14:imgLayer r:embed="rId9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015750" y="5320333"/>
            <a:ext cx="692656" cy="22640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49" name="Picture 36" descr="H2o.ai is the leading company that can make a huge difference - Passionate  In Marketing">
            <a:extLst>
              <a:ext uri="{FF2B5EF4-FFF2-40B4-BE49-F238E27FC236}">
                <a16:creationId xmlns:a16="http://schemas.microsoft.com/office/drawing/2014/main" id="{08F3C2DF-5E9A-9312-AA2F-8B9D79D1C8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8">
            <a:extLst>
              <a:ext uri="{BEBA8EAE-BF5A-486C-A8C5-ECC9F3942E4B}">
                <a14:imgProps xmlns:a14="http://schemas.microsoft.com/office/drawing/2010/main">
                  <a14:imgLayer r:embed="rId99">
                    <a14:imgEffect>
                      <a14:backgroundRemoval t="10000" b="90000" l="10000" r="90000">
                        <a14:foregroundMark x1="43688" y1="57286" x2="43688" y2="57286"/>
                        <a14:foregroundMark x1="34813" y1="45286" x2="34813" y2="45286"/>
                        <a14:foregroundMark x1="68063" y1="44571" x2="68063" y2="44571"/>
                        <a14:foregroundMark x1="67750" y1="43000" x2="67750" y2="43000"/>
                        <a14:foregroundMark x1="72188" y1="44857" x2="72188" y2="44857"/>
                        <a14:foregroundMark x1="71813" y1="32143" x2="71813" y2="32143"/>
                        <a14:foregroundMark x1="72000" y1="56429" x2="72000" y2="56429"/>
                        <a14:foregroundMark x1="57750" y1="55714" x2="57750" y2="55714"/>
                        <a14:backgroundMark x1="24188" y1="71143" x2="24188" y2="71143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1814" y="4370792"/>
            <a:ext cx="660999" cy="289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50" name="Picture 4" descr="LF AI &amp; Data Foundation Logos and Artwork - ONNX">
            <a:extLst>
              <a:ext uri="{FF2B5EF4-FFF2-40B4-BE49-F238E27FC236}">
                <a16:creationId xmlns:a16="http://schemas.microsoft.com/office/drawing/2014/main" id="{FA91FF3A-9C19-FAC4-ADB0-92D18A1E1B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6329" y="5158387"/>
            <a:ext cx="552056" cy="152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51" name="Picture 1850">
            <a:extLst>
              <a:ext uri="{FF2B5EF4-FFF2-40B4-BE49-F238E27FC236}">
                <a16:creationId xmlns:a16="http://schemas.microsoft.com/office/drawing/2014/main" id="{5A87C8C8-42D1-282A-EAE8-C8F41EA69985}"/>
              </a:ext>
            </a:extLst>
          </p:cNvPr>
          <p:cNvPicPr>
            <a:picLocks noChangeAspect="1"/>
          </p:cNvPicPr>
          <p:nvPr/>
        </p:nvPicPr>
        <p:blipFill>
          <a:blip r:embed="rId101">
            <a:extLst>
              <a:ext uri="{BEBA8EAE-BF5A-486C-A8C5-ECC9F3942E4B}">
                <a14:imgProps xmlns:a14="http://schemas.microsoft.com/office/drawing/2010/main">
                  <a14:imgLayer r:embed="rId102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976203" y="4675421"/>
            <a:ext cx="590121" cy="227107"/>
          </a:xfrm>
          <a:prstGeom prst="rect">
            <a:avLst/>
          </a:prstGeom>
        </p:spPr>
      </p:pic>
      <p:pic>
        <p:nvPicPr>
          <p:cNvPr id="1852" name="Picture 2" descr="AI and Machine Learning Applications in Atlanta | Digital Scientists">
            <a:extLst>
              <a:ext uri="{FF2B5EF4-FFF2-40B4-BE49-F238E27FC236}">
                <a16:creationId xmlns:a16="http://schemas.microsoft.com/office/drawing/2014/main" id="{434A6FD3-8EE9-62CB-F831-26E1C3591B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9477" y="5198839"/>
            <a:ext cx="897796" cy="580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53" name="Oval 1852">
            <a:extLst>
              <a:ext uri="{FF2B5EF4-FFF2-40B4-BE49-F238E27FC236}">
                <a16:creationId xmlns:a16="http://schemas.microsoft.com/office/drawing/2014/main" id="{47FB509E-DE17-85E3-65F7-0F5822BBA5CF}"/>
              </a:ext>
            </a:extLst>
          </p:cNvPr>
          <p:cNvSpPr/>
          <p:nvPr/>
        </p:nvSpPr>
        <p:spPr>
          <a:xfrm>
            <a:off x="9167412" y="5581537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854" name="Oval 1853">
            <a:extLst>
              <a:ext uri="{FF2B5EF4-FFF2-40B4-BE49-F238E27FC236}">
                <a16:creationId xmlns:a16="http://schemas.microsoft.com/office/drawing/2014/main" id="{C159E90B-A0A2-C674-6131-ABF91326B6A7}"/>
              </a:ext>
            </a:extLst>
          </p:cNvPr>
          <p:cNvSpPr/>
          <p:nvPr/>
        </p:nvSpPr>
        <p:spPr>
          <a:xfrm>
            <a:off x="10486358" y="6075476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855" name="Picture 1854">
            <a:extLst>
              <a:ext uri="{FF2B5EF4-FFF2-40B4-BE49-F238E27FC236}">
                <a16:creationId xmlns:a16="http://schemas.microsoft.com/office/drawing/2014/main" id="{0311B157-27E9-FE86-069E-E9FF80C5395D}"/>
              </a:ext>
            </a:extLst>
          </p:cNvPr>
          <p:cNvPicPr>
            <a:picLocks noChangeAspect="1"/>
          </p:cNvPicPr>
          <p:nvPr/>
        </p:nvPicPr>
        <p:blipFill>
          <a:blip r:embed="rId10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922676" y="4616381"/>
            <a:ext cx="884770" cy="495471"/>
          </a:xfrm>
          <a:prstGeom prst="rect">
            <a:avLst/>
          </a:prstGeom>
        </p:spPr>
      </p:pic>
      <p:pic>
        <p:nvPicPr>
          <p:cNvPr id="1646" name="Picture 2" descr="Shiny: la forma de crear un dashboard interactivo en R">
            <a:extLst>
              <a:ext uri="{FF2B5EF4-FFF2-40B4-BE49-F238E27FC236}">
                <a16:creationId xmlns:a16="http://schemas.microsoft.com/office/drawing/2014/main" id="{0F52BC0B-69CD-0129-DB03-17625CA829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5">
            <a:extLst>
              <a:ext uri="{BEBA8EAE-BF5A-486C-A8C5-ECC9F3942E4B}">
                <a14:imgProps xmlns:a14="http://schemas.microsoft.com/office/drawing/2010/main">
                  <a14:imgLayer r:embed="rId106">
                    <a14:imgEffect>
                      <a14:backgroundRemoval t="10000" b="90000" l="10000" r="900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3259" y="3524338"/>
            <a:ext cx="807533" cy="408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81" name="Picture 1480">
            <a:extLst>
              <a:ext uri="{FF2B5EF4-FFF2-40B4-BE49-F238E27FC236}">
                <a16:creationId xmlns:a16="http://schemas.microsoft.com/office/drawing/2014/main" id="{883FC2CF-0690-2E13-34D4-508CD5F25FB3}"/>
              </a:ext>
            </a:extLst>
          </p:cNvPr>
          <p:cNvPicPr>
            <a:picLocks noChangeAspect="1"/>
          </p:cNvPicPr>
          <p:nvPr/>
        </p:nvPicPr>
        <p:blipFill>
          <a:blip r:embed="rId10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0672213" y="4962986"/>
            <a:ext cx="862763" cy="192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5078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6314118-1EFC-1760-A83C-5D8AD58128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6330023"/>
              </p:ext>
            </p:extLst>
          </p:nvPr>
        </p:nvGraphicFramePr>
        <p:xfrm>
          <a:off x="407625" y="3737398"/>
          <a:ext cx="11060934" cy="2801692"/>
        </p:xfrm>
        <a:graphic>
          <a:graphicData uri="http://schemas.openxmlformats.org/drawingml/2006/table">
            <a:tbl>
              <a:tblPr/>
              <a:tblGrid>
                <a:gridCol w="1264374">
                  <a:extLst>
                    <a:ext uri="{9D8B030D-6E8A-4147-A177-3AD203B41FA5}">
                      <a16:colId xmlns:a16="http://schemas.microsoft.com/office/drawing/2014/main" val="2670120574"/>
                    </a:ext>
                  </a:extLst>
                </a:gridCol>
                <a:gridCol w="1451688">
                  <a:extLst>
                    <a:ext uri="{9D8B030D-6E8A-4147-A177-3AD203B41FA5}">
                      <a16:colId xmlns:a16="http://schemas.microsoft.com/office/drawing/2014/main" val="3698899034"/>
                    </a:ext>
                  </a:extLst>
                </a:gridCol>
                <a:gridCol w="3755660">
                  <a:extLst>
                    <a:ext uri="{9D8B030D-6E8A-4147-A177-3AD203B41FA5}">
                      <a16:colId xmlns:a16="http://schemas.microsoft.com/office/drawing/2014/main" val="3088783335"/>
                    </a:ext>
                  </a:extLst>
                </a:gridCol>
                <a:gridCol w="2837818">
                  <a:extLst>
                    <a:ext uri="{9D8B030D-6E8A-4147-A177-3AD203B41FA5}">
                      <a16:colId xmlns:a16="http://schemas.microsoft.com/office/drawing/2014/main" val="3554416051"/>
                    </a:ext>
                  </a:extLst>
                </a:gridCol>
                <a:gridCol w="1751394">
                  <a:extLst>
                    <a:ext uri="{9D8B030D-6E8A-4147-A177-3AD203B41FA5}">
                      <a16:colId xmlns:a16="http://schemas.microsoft.com/office/drawing/2014/main" val="3964949525"/>
                    </a:ext>
                  </a:extLst>
                </a:gridCol>
              </a:tblGrid>
              <a:tr h="95451">
                <a:tc gridSpan="5">
                  <a:txBody>
                    <a:bodyPr/>
                    <a:lstStyle/>
                    <a:p>
                      <a:pPr algn="ctr" rtl="0" fontAlgn="b"/>
                      <a:r>
                        <a:rPr lang="en-US" sz="1100" b="1">
                          <a:effectLst/>
                        </a:rPr>
                        <a:t>ML Skills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7086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86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86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5582553"/>
                  </a:ext>
                </a:extLst>
              </a:tr>
              <a:tr h="16951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>
                          <a:effectLst/>
                        </a:rPr>
                        <a:t>NLP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>
                          <a:effectLst/>
                        </a:rPr>
                        <a:t>Computer Vision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>
                          <a:effectLst/>
                        </a:rPr>
                        <a:t>Advanced Analytics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>
                          <a:effectLst/>
                        </a:rPr>
                        <a:t>General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>
                          <a:effectLst/>
                        </a:rPr>
                        <a:t>Generative AI ?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7264762"/>
                  </a:ext>
                </a:extLst>
              </a:tr>
              <a:tr h="23471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NLTK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Object Detection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dirty="0">
                          <a:effectLst/>
                        </a:rPr>
                        <a:t>Time Series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dirty="0">
                          <a:effectLst/>
                        </a:rPr>
                        <a:t>Scikit -learn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925575"/>
                  </a:ext>
                </a:extLst>
              </a:tr>
              <a:tr h="35207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LLM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Image Generation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dirty="0">
                          <a:effectLst/>
                        </a:rPr>
                        <a:t>Predictive Analytics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dirty="0" err="1">
                          <a:effectLst/>
                        </a:rPr>
                        <a:t>Tensorflow</a:t>
                      </a:r>
                      <a:endParaRPr lang="en-US" sz="1100" dirty="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9205028"/>
                  </a:ext>
                </a:extLst>
              </a:tr>
              <a:tr h="46943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Fuzzy Matching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Video/Image Classification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dirty="0">
                          <a:effectLst/>
                        </a:rPr>
                        <a:t>Recommendation systems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Huggingface Transformers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6118937"/>
                  </a:ext>
                </a:extLst>
              </a:tr>
              <a:tr h="23471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dirty="0" err="1">
                          <a:effectLst/>
                        </a:rPr>
                        <a:t>ElasticSearch</a:t>
                      </a:r>
                      <a:endParaRPr lang="en-US" sz="1100" dirty="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OCR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dirty="0">
                          <a:effectLst/>
                        </a:rPr>
                        <a:t>Clustering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dirty="0" err="1">
                          <a:effectLst/>
                        </a:rPr>
                        <a:t>pytorch</a:t>
                      </a:r>
                      <a:endParaRPr lang="en-US" sz="1100" dirty="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307990"/>
                  </a:ext>
                </a:extLst>
              </a:tr>
              <a:tr h="35207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dirty="0">
                          <a:effectLst/>
                        </a:rPr>
                        <a:t>Conversational Bot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Anomaly detection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dirty="0">
                          <a:effectLst/>
                        </a:rPr>
                        <a:t>Geospatial data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dirty="0" err="1">
                          <a:effectLst/>
                        </a:rPr>
                        <a:t>OpenAI</a:t>
                      </a:r>
                      <a:endParaRPr lang="en-US" sz="1100" dirty="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4704098"/>
                  </a:ext>
                </a:extLst>
              </a:tr>
              <a:tr h="35207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sentiment analysis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dirty="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dirty="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516883"/>
                  </a:ext>
                </a:extLst>
              </a:tr>
              <a:tr h="23471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Summarization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dirty="0">
                          <a:effectLst/>
                        </a:rPr>
                        <a:t>ONNX?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10960"/>
                  </a:ext>
                </a:extLst>
              </a:tr>
              <a:tr h="23471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Speech2text</a:t>
                      </a: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dirty="0">
                        <a:effectLst/>
                      </a:endParaRPr>
                    </a:p>
                  </a:txBody>
                  <a:tcPr marL="13012" marR="13012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447999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999738C-D0D8-B820-E576-C09A62A6D5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7631"/>
              </p:ext>
            </p:extLst>
          </p:nvPr>
        </p:nvGraphicFramePr>
        <p:xfrm>
          <a:off x="543078" y="652696"/>
          <a:ext cx="2828083" cy="2133600"/>
        </p:xfrm>
        <a:graphic>
          <a:graphicData uri="http://schemas.openxmlformats.org/drawingml/2006/table">
            <a:tbl>
              <a:tblPr/>
              <a:tblGrid>
                <a:gridCol w="1435100">
                  <a:extLst>
                    <a:ext uri="{9D8B030D-6E8A-4147-A177-3AD203B41FA5}">
                      <a16:colId xmlns:a16="http://schemas.microsoft.com/office/drawing/2014/main" val="4055568536"/>
                    </a:ext>
                  </a:extLst>
                </a:gridCol>
                <a:gridCol w="1392983">
                  <a:extLst>
                    <a:ext uri="{9D8B030D-6E8A-4147-A177-3AD203B41FA5}">
                      <a16:colId xmlns:a16="http://schemas.microsoft.com/office/drawing/2014/main" val="2442874877"/>
                    </a:ext>
                  </a:extLst>
                </a:gridCol>
              </a:tblGrid>
              <a:tr h="1270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ML tools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dirty="0">
                          <a:effectLst/>
                        </a:rPr>
                        <a:t>Statistics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6486191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 dirty="0">
                          <a:effectLst/>
                        </a:rPr>
                        <a:t>Scikit -learn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dirty="0">
                          <a:effectLst/>
                        </a:rPr>
                        <a:t>Pandas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492804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 dirty="0" err="1">
                          <a:effectLst/>
                        </a:rPr>
                        <a:t>Tensorflow</a:t>
                      </a:r>
                      <a:endParaRPr lang="en-US" dirty="0">
                        <a:effectLst/>
                      </a:endParaRP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dirty="0" err="1">
                          <a:effectLst/>
                        </a:rPr>
                        <a:t>Numpy</a:t>
                      </a:r>
                      <a:endParaRPr lang="en-US" dirty="0">
                        <a:effectLst/>
                      </a:endParaRP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560072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 dirty="0" err="1">
                          <a:effectLst/>
                        </a:rPr>
                        <a:t>Huggingface</a:t>
                      </a:r>
                      <a:r>
                        <a:rPr lang="en-US" dirty="0">
                          <a:effectLst/>
                        </a:rPr>
                        <a:t> Transformers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>
                          <a:effectLst/>
                        </a:rPr>
                        <a:t>Statsmodels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6833855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 dirty="0" err="1">
                          <a:effectLst/>
                        </a:rPr>
                        <a:t>pytorch</a:t>
                      </a:r>
                      <a:endParaRPr lang="en-US" dirty="0">
                        <a:effectLst/>
                      </a:endParaRP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dirty="0" err="1">
                          <a:effectLst/>
                        </a:rPr>
                        <a:t>Matlab</a:t>
                      </a:r>
                      <a:endParaRPr lang="en-US" dirty="0">
                        <a:effectLst/>
                      </a:endParaRP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3512224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 dirty="0" err="1">
                          <a:effectLst/>
                        </a:rPr>
                        <a:t>OpenAI</a:t>
                      </a:r>
                      <a:endParaRPr lang="en-US" dirty="0">
                        <a:effectLst/>
                      </a:endParaRP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>
                          <a:effectLst/>
                        </a:rPr>
                        <a:t>Scipy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146494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endParaRPr lang="en-US" dirty="0">
                        <a:effectLst/>
                      </a:endParaRP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en-US" dirty="0">
                        <a:effectLst/>
                      </a:endParaRP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8931416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604BF18-6C52-63A8-B39C-48F2AE3249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2504818"/>
              </p:ext>
            </p:extLst>
          </p:nvPr>
        </p:nvGraphicFramePr>
        <p:xfrm>
          <a:off x="3803650" y="591736"/>
          <a:ext cx="2292350" cy="2194560"/>
        </p:xfrm>
        <a:graphic>
          <a:graphicData uri="http://schemas.openxmlformats.org/drawingml/2006/table">
            <a:tbl>
              <a:tblPr/>
              <a:tblGrid>
                <a:gridCol w="1435100">
                  <a:extLst>
                    <a:ext uri="{9D8B030D-6E8A-4147-A177-3AD203B41FA5}">
                      <a16:colId xmlns:a16="http://schemas.microsoft.com/office/drawing/2014/main" val="3597461979"/>
                    </a:ext>
                  </a:extLst>
                </a:gridCol>
                <a:gridCol w="857250">
                  <a:extLst>
                    <a:ext uri="{9D8B030D-6E8A-4147-A177-3AD203B41FA5}">
                      <a16:colId xmlns:a16="http://schemas.microsoft.com/office/drawing/2014/main" val="3984612585"/>
                    </a:ext>
                  </a:extLst>
                </a:gridCol>
              </a:tblGrid>
              <a:tr h="1270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dirty="0">
                          <a:effectLst/>
                        </a:rPr>
                        <a:t>Data Science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en-US">
                        <a:effectLst/>
                      </a:endParaRP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0046260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>
                          <a:effectLst/>
                        </a:rPr>
                        <a:t>Python, SAS, R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en-US" dirty="0">
                        <a:effectLst/>
                      </a:endParaRP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3131004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>
                          <a:effectLst/>
                        </a:rPr>
                        <a:t>AI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en-US" dirty="0">
                        <a:effectLst/>
                      </a:endParaRP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4073874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>
                          <a:effectLst/>
                        </a:rPr>
                        <a:t>ML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en-US">
                        <a:effectLst/>
                      </a:endParaRP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5151375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>
                          <a:effectLst/>
                        </a:rPr>
                        <a:t>Advanced Analytics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en-US" dirty="0">
                        <a:effectLst/>
                      </a:endParaRP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1918203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>
                          <a:effectLst/>
                        </a:rPr>
                        <a:t>Computer Vision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en-US" dirty="0">
                        <a:effectLst/>
                      </a:endParaRP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6163017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6E2049B-F535-0C80-C3BF-93CC338BC1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5439780"/>
              </p:ext>
            </p:extLst>
          </p:nvPr>
        </p:nvGraphicFramePr>
        <p:xfrm>
          <a:off x="6711796" y="652696"/>
          <a:ext cx="2095500" cy="2194560"/>
        </p:xfrm>
        <a:graphic>
          <a:graphicData uri="http://schemas.openxmlformats.org/drawingml/2006/table">
            <a:tbl>
              <a:tblPr/>
              <a:tblGrid>
                <a:gridCol w="2095500">
                  <a:extLst>
                    <a:ext uri="{9D8B030D-6E8A-4147-A177-3AD203B41FA5}">
                      <a16:colId xmlns:a16="http://schemas.microsoft.com/office/drawing/2014/main" val="2963798325"/>
                    </a:ext>
                  </a:extLst>
                </a:gridCol>
              </a:tblGrid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>
                          <a:effectLst/>
                        </a:rPr>
                        <a:t>ou mettre les langages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1097376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>
                          <a:effectLst/>
                        </a:rPr>
                        <a:t>Scala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1664298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>
                          <a:effectLst/>
                        </a:rPr>
                        <a:t>PySpark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0963882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>
                          <a:solidFill>
                            <a:srgbClr val="FF0000"/>
                          </a:solidFill>
                          <a:effectLst/>
                        </a:rPr>
                        <a:t>Hive 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2740875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>
                          <a:solidFill>
                            <a:srgbClr val="FF0000"/>
                          </a:solidFill>
                          <a:effectLst/>
                        </a:rPr>
                        <a:t>Impala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4387063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 dirty="0">
                          <a:solidFill>
                            <a:srgbClr val="FF0000"/>
                          </a:solidFill>
                          <a:effectLst/>
                        </a:rPr>
                        <a:t>Pig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5544833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 dirty="0">
                          <a:solidFill>
                            <a:srgbClr val="FF0000"/>
                          </a:solidFill>
                          <a:effectLst/>
                        </a:rPr>
                        <a:t>R ?? 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3420794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787C875-88CC-F45E-61CD-05DB0A189B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4992985"/>
              </p:ext>
            </p:extLst>
          </p:nvPr>
        </p:nvGraphicFramePr>
        <p:xfrm>
          <a:off x="5530467" y="3120602"/>
          <a:ext cx="5794872" cy="548640"/>
        </p:xfrm>
        <a:graphic>
          <a:graphicData uri="http://schemas.openxmlformats.org/drawingml/2006/table">
            <a:tbl>
              <a:tblPr/>
              <a:tblGrid>
                <a:gridCol w="2732184">
                  <a:extLst>
                    <a:ext uri="{9D8B030D-6E8A-4147-A177-3AD203B41FA5}">
                      <a16:colId xmlns:a16="http://schemas.microsoft.com/office/drawing/2014/main" val="692810820"/>
                    </a:ext>
                  </a:extLst>
                </a:gridCol>
                <a:gridCol w="3062688">
                  <a:extLst>
                    <a:ext uri="{9D8B030D-6E8A-4147-A177-3AD203B41FA5}">
                      <a16:colId xmlns:a16="http://schemas.microsoft.com/office/drawing/2014/main" val="3996746809"/>
                    </a:ext>
                  </a:extLst>
                </a:gridCol>
              </a:tblGrid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>
                          <a:effectLst/>
                        </a:rPr>
                        <a:t>Julia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dirty="0">
                          <a:effectLst/>
                        </a:rPr>
                        <a:t>Shiny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597883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>
                          <a:effectLst/>
                        </a:rPr>
                        <a:t>seems to be a langage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dirty="0">
                          <a:effectLst/>
                        </a:rPr>
                        <a:t>websites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69563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57902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BDAF4EA-35C1-2DBE-8CB7-3A3B5D77219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4</a:t>
            </a:fld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CDEE6C6-428F-DC42-BAFC-2A3B818BD6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5322977"/>
              </p:ext>
            </p:extLst>
          </p:nvPr>
        </p:nvGraphicFramePr>
        <p:xfrm>
          <a:off x="649794" y="592721"/>
          <a:ext cx="10598427" cy="3351319"/>
        </p:xfrm>
        <a:graphic>
          <a:graphicData uri="http://schemas.openxmlformats.org/drawingml/2006/table">
            <a:tbl>
              <a:tblPr/>
              <a:tblGrid>
                <a:gridCol w="865975">
                  <a:extLst>
                    <a:ext uri="{9D8B030D-6E8A-4147-A177-3AD203B41FA5}">
                      <a16:colId xmlns:a16="http://schemas.microsoft.com/office/drawing/2014/main" val="3170879211"/>
                    </a:ext>
                  </a:extLst>
                </a:gridCol>
                <a:gridCol w="2240364">
                  <a:extLst>
                    <a:ext uri="{9D8B030D-6E8A-4147-A177-3AD203B41FA5}">
                      <a16:colId xmlns:a16="http://schemas.microsoft.com/office/drawing/2014/main" val="731085404"/>
                    </a:ext>
                  </a:extLst>
                </a:gridCol>
                <a:gridCol w="1692843">
                  <a:extLst>
                    <a:ext uri="{9D8B030D-6E8A-4147-A177-3AD203B41FA5}">
                      <a16:colId xmlns:a16="http://schemas.microsoft.com/office/drawing/2014/main" val="3201816962"/>
                    </a:ext>
                  </a:extLst>
                </a:gridCol>
                <a:gridCol w="1044758">
                  <a:extLst>
                    <a:ext uri="{9D8B030D-6E8A-4147-A177-3AD203B41FA5}">
                      <a16:colId xmlns:a16="http://schemas.microsoft.com/office/drawing/2014/main" val="3652684347"/>
                    </a:ext>
                  </a:extLst>
                </a:gridCol>
                <a:gridCol w="1843690">
                  <a:extLst>
                    <a:ext uri="{9D8B030D-6E8A-4147-A177-3AD203B41FA5}">
                      <a16:colId xmlns:a16="http://schemas.microsoft.com/office/drawing/2014/main" val="1986107982"/>
                    </a:ext>
                  </a:extLst>
                </a:gridCol>
                <a:gridCol w="1245888">
                  <a:extLst>
                    <a:ext uri="{9D8B030D-6E8A-4147-A177-3AD203B41FA5}">
                      <a16:colId xmlns:a16="http://schemas.microsoft.com/office/drawing/2014/main" val="3227188802"/>
                    </a:ext>
                  </a:extLst>
                </a:gridCol>
                <a:gridCol w="810107">
                  <a:extLst>
                    <a:ext uri="{9D8B030D-6E8A-4147-A177-3AD203B41FA5}">
                      <a16:colId xmlns:a16="http://schemas.microsoft.com/office/drawing/2014/main" val="2187215270"/>
                    </a:ext>
                  </a:extLst>
                </a:gridCol>
                <a:gridCol w="854802">
                  <a:extLst>
                    <a:ext uri="{9D8B030D-6E8A-4147-A177-3AD203B41FA5}">
                      <a16:colId xmlns:a16="http://schemas.microsoft.com/office/drawing/2014/main" val="2301647524"/>
                    </a:ext>
                  </a:extLst>
                </a:gridCol>
              </a:tblGrid>
              <a:tr h="100539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>
                          <a:effectLst/>
                        </a:rPr>
                        <a:t>Visualisation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BR" sz="1100" b="1">
                          <a:effectLst/>
                        </a:rPr>
                        <a:t>Data Gathering/Data bases/Querry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>
                          <a:effectLst/>
                        </a:rPr>
                        <a:t>Big Data &amp; Distributed Environnement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>
                          <a:effectLst/>
                        </a:rPr>
                        <a:t>End to end frameworks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>
                          <a:effectLst/>
                        </a:rPr>
                        <a:t>Could Ecosystems/Cloud Computing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>
                          <a:effectLst/>
                        </a:rPr>
                        <a:t>Interface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>
                          <a:effectLst/>
                        </a:rPr>
                        <a:t>real time island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>
                          <a:effectLst/>
                        </a:rPr>
                        <a:t>MLOps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207497"/>
                  </a:ext>
                </a:extLst>
              </a:tr>
              <a:tr h="67026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Power BI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SQL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Kubertnetes 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AWS SageMaker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GCP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Gradio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Spark streaming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mlflow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3456099"/>
                  </a:ext>
                </a:extLst>
              </a:tr>
              <a:tr h="335132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D3.js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Google Big Query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Docker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Dataiku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AWS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Streamlit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Kafka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kubeflow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4548702"/>
                  </a:ext>
                </a:extLst>
              </a:tr>
              <a:tr h="335132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Tableau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NOSQL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Hadoop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Alteryx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IBM Cloud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Flask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Oryx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tfserving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8003352"/>
                  </a:ext>
                </a:extLst>
              </a:tr>
              <a:tr h="335132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Looker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Snowflake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Spark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AutoML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Django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dirty="0">
                          <a:effectLst/>
                        </a:rPr>
                        <a:t>Airflow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9973517"/>
                  </a:ext>
                </a:extLst>
              </a:tr>
              <a:tr h="335132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Seaborn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DataMesh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Vertex AI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React native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Prefect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608487"/>
                  </a:ext>
                </a:extLst>
              </a:tr>
              <a:tr h="335132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matplotlib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>
                          <a:effectLst/>
                        </a:rPr>
                        <a:t>ElasticSearch</a:t>
                      </a: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dirty="0">
                        <a:effectLst/>
                      </a:endParaRP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>
                        <a:effectLst/>
                      </a:endParaRP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dirty="0" err="1">
                          <a:effectLst/>
                        </a:rPr>
                        <a:t>kubeflow</a:t>
                      </a:r>
                      <a:endParaRPr lang="en-US" sz="1100" dirty="0">
                        <a:effectLst/>
                      </a:endParaRPr>
                    </a:p>
                  </a:txBody>
                  <a:tcPr marL="12034" marR="12034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9524503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5CD5DB0-74D8-0FB1-96F8-FC85B6B11F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0089577"/>
              </p:ext>
            </p:extLst>
          </p:nvPr>
        </p:nvGraphicFramePr>
        <p:xfrm>
          <a:off x="3558563" y="4630587"/>
          <a:ext cx="1924050" cy="853440"/>
        </p:xfrm>
        <a:graphic>
          <a:graphicData uri="http://schemas.openxmlformats.org/drawingml/2006/table">
            <a:tbl>
              <a:tblPr/>
              <a:tblGrid>
                <a:gridCol w="1924050">
                  <a:extLst>
                    <a:ext uri="{9D8B030D-6E8A-4147-A177-3AD203B41FA5}">
                      <a16:colId xmlns:a16="http://schemas.microsoft.com/office/drawing/2014/main" val="3599783286"/>
                    </a:ext>
                  </a:extLst>
                </a:gridCol>
              </a:tblGrid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>
                          <a:effectLst/>
                        </a:rPr>
                        <a:t>Google API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8208179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>
                          <a:effectLst/>
                        </a:rPr>
                        <a:t>boilersoup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953870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>
                          <a:effectLst/>
                        </a:rPr>
                        <a:t>octoparse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557319"/>
                  </a:ext>
                </a:extLst>
              </a:tr>
              <a:tr h="127000">
                <a:tc>
                  <a:txBody>
                    <a:bodyPr/>
                    <a:lstStyle/>
                    <a:p>
                      <a:pPr rtl="0" fontAlgn="b"/>
                      <a:r>
                        <a:rPr lang="en-US" dirty="0">
                          <a:effectLst/>
                        </a:rPr>
                        <a:t>Twitter API</a:t>
                      </a:r>
                    </a:p>
                  </a:txBody>
                  <a:tcPr marL="19050" marR="1905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64675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82770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62C7537-78B0-DCDB-5DF2-253369649C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62C7537-78B0-DCDB-5DF2-253369649C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14" name="Google Shape;1514;p2"/>
          <p:cNvSpPr txBox="1">
            <a:spLocks noGrp="1"/>
          </p:cNvSpPr>
          <p:nvPr>
            <p:ph type="title"/>
          </p:nvPr>
        </p:nvSpPr>
        <p:spPr>
          <a:xfrm>
            <a:off x="53181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</a:pPr>
            <a:r>
              <a:rPr lang="en-US" dirty="0"/>
              <a:t>Technologies Infomineo can be handling  </a:t>
            </a:r>
            <a:endParaRPr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443C545-94F3-8432-CCA9-08777EB3E586}"/>
              </a:ext>
            </a:extLst>
          </p:cNvPr>
          <p:cNvSpPr/>
          <p:nvPr/>
        </p:nvSpPr>
        <p:spPr>
          <a:xfrm>
            <a:off x="3167283" y="4931186"/>
            <a:ext cx="4549746" cy="765406"/>
          </a:xfrm>
          <a:custGeom>
            <a:avLst/>
            <a:gdLst>
              <a:gd name="connsiteX0" fmla="*/ 3930774 w 4549746"/>
              <a:gd name="connsiteY0" fmla="*/ 619034 h 765406"/>
              <a:gd name="connsiteX1" fmla="*/ 2546333 w 4549746"/>
              <a:gd name="connsiteY1" fmla="*/ 619034 h 765406"/>
              <a:gd name="connsiteX2" fmla="*/ 2546333 w 4549746"/>
              <a:gd name="connsiteY2" fmla="*/ 624523 h 765406"/>
              <a:gd name="connsiteX3" fmla="*/ 1225260 w 4549746"/>
              <a:gd name="connsiteY3" fmla="*/ 624523 h 765406"/>
              <a:gd name="connsiteX4" fmla="*/ 1225260 w 4549746"/>
              <a:gd name="connsiteY4" fmla="*/ 625133 h 765406"/>
              <a:gd name="connsiteX5" fmla="*/ 626718 w 4549746"/>
              <a:gd name="connsiteY5" fmla="*/ 625133 h 765406"/>
              <a:gd name="connsiteX6" fmla="*/ 0 w 4549746"/>
              <a:gd name="connsiteY6" fmla="*/ 80200 h 765406"/>
              <a:gd name="connsiteX7" fmla="*/ 0 w 4549746"/>
              <a:gd name="connsiteY7" fmla="*/ 146373 h 765406"/>
              <a:gd name="connsiteX8" fmla="*/ 619034 w 4549746"/>
              <a:gd name="connsiteY8" fmla="*/ 765407 h 765406"/>
              <a:gd name="connsiteX9" fmla="*/ 3930713 w 4549746"/>
              <a:gd name="connsiteY9" fmla="*/ 765407 h 765406"/>
              <a:gd name="connsiteX10" fmla="*/ 4549747 w 4549746"/>
              <a:gd name="connsiteY10" fmla="*/ 146373 h 765406"/>
              <a:gd name="connsiteX11" fmla="*/ 4549747 w 4549746"/>
              <a:gd name="connsiteY11" fmla="*/ 0 h 765406"/>
              <a:gd name="connsiteX12" fmla="*/ 3930713 w 4549746"/>
              <a:gd name="connsiteY12" fmla="*/ 619034 h 765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49746" h="765406">
                <a:moveTo>
                  <a:pt x="3930774" y="619034"/>
                </a:moveTo>
                <a:lnTo>
                  <a:pt x="2546333" y="619034"/>
                </a:lnTo>
                <a:lnTo>
                  <a:pt x="2546333" y="624523"/>
                </a:lnTo>
                <a:lnTo>
                  <a:pt x="1225260" y="624523"/>
                </a:lnTo>
                <a:lnTo>
                  <a:pt x="1225260" y="625133"/>
                </a:lnTo>
                <a:lnTo>
                  <a:pt x="626718" y="625133"/>
                </a:lnTo>
                <a:cubicBezTo>
                  <a:pt x="307016" y="625133"/>
                  <a:pt x="42753" y="388070"/>
                  <a:pt x="0" y="80200"/>
                </a:cubicBezTo>
                <a:lnTo>
                  <a:pt x="0" y="146373"/>
                </a:lnTo>
                <a:cubicBezTo>
                  <a:pt x="0" y="488274"/>
                  <a:pt x="277132" y="765407"/>
                  <a:pt x="619034" y="765407"/>
                </a:cubicBezTo>
                <a:lnTo>
                  <a:pt x="3930713" y="765407"/>
                </a:lnTo>
                <a:cubicBezTo>
                  <a:pt x="4272614" y="765407"/>
                  <a:pt x="4549747" y="488274"/>
                  <a:pt x="4549747" y="146373"/>
                </a:cubicBezTo>
                <a:lnTo>
                  <a:pt x="4549747" y="0"/>
                </a:lnTo>
                <a:cubicBezTo>
                  <a:pt x="4549747" y="341902"/>
                  <a:pt x="4272614" y="619034"/>
                  <a:pt x="3930713" y="619034"/>
                </a:cubicBezTo>
                <a:close/>
              </a:path>
            </a:pathLst>
          </a:custGeom>
          <a:solidFill>
            <a:srgbClr val="0F47F2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E9AE13C-9453-965B-217E-24832037407B}"/>
              </a:ext>
            </a:extLst>
          </p:cNvPr>
          <p:cNvSpPr/>
          <p:nvPr/>
        </p:nvSpPr>
        <p:spPr>
          <a:xfrm>
            <a:off x="7716846" y="4915938"/>
            <a:ext cx="243" cy="15247"/>
          </a:xfrm>
          <a:custGeom>
            <a:avLst/>
            <a:gdLst>
              <a:gd name="connsiteX0" fmla="*/ 244 w 243"/>
              <a:gd name="connsiteY0" fmla="*/ 0 h 15247"/>
              <a:gd name="connsiteX1" fmla="*/ 0 w 243"/>
              <a:gd name="connsiteY1" fmla="*/ 0 h 15247"/>
              <a:gd name="connsiteX2" fmla="*/ 244 w 243"/>
              <a:gd name="connsiteY2" fmla="*/ 15247 h 15247"/>
              <a:gd name="connsiteX3" fmla="*/ 244 w 243"/>
              <a:gd name="connsiteY3" fmla="*/ 0 h 15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" h="15247">
                <a:moveTo>
                  <a:pt x="244" y="0"/>
                </a:moveTo>
                <a:lnTo>
                  <a:pt x="0" y="0"/>
                </a:lnTo>
                <a:cubicBezTo>
                  <a:pt x="122" y="5062"/>
                  <a:pt x="244" y="10124"/>
                  <a:pt x="244" y="15247"/>
                </a:cubicBezTo>
                <a:lnTo>
                  <a:pt x="244" y="0"/>
                </a:lnTo>
                <a:close/>
              </a:path>
            </a:pathLst>
          </a:custGeom>
          <a:solidFill>
            <a:srgbClr val="0F47F2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91AFE604-83C2-91EC-BA58-9921DD79843C}"/>
              </a:ext>
            </a:extLst>
          </p:cNvPr>
          <p:cNvSpPr/>
          <p:nvPr/>
        </p:nvSpPr>
        <p:spPr>
          <a:xfrm>
            <a:off x="2838006" y="2294833"/>
            <a:ext cx="743999" cy="782117"/>
          </a:xfrm>
          <a:custGeom>
            <a:avLst/>
            <a:gdLst>
              <a:gd name="connsiteX0" fmla="*/ 622083 w 743999"/>
              <a:gd name="connsiteY0" fmla="*/ 601896 h 782117"/>
              <a:gd name="connsiteX1" fmla="*/ 619034 w 743999"/>
              <a:gd name="connsiteY1" fmla="*/ 602384 h 782117"/>
              <a:gd name="connsiteX2" fmla="*/ 244 w 743999"/>
              <a:gd name="connsiteY2" fmla="*/ 488 h 782117"/>
              <a:gd name="connsiteX3" fmla="*/ 0 w 743999"/>
              <a:gd name="connsiteY3" fmla="*/ 0 h 782117"/>
              <a:gd name="connsiteX4" fmla="*/ 0 w 743999"/>
              <a:gd name="connsiteY4" fmla="*/ 99289 h 782117"/>
              <a:gd name="connsiteX5" fmla="*/ 615984 w 743999"/>
              <a:gd name="connsiteY5" fmla="*/ 718323 h 782117"/>
              <a:gd name="connsiteX6" fmla="*/ 618790 w 743999"/>
              <a:gd name="connsiteY6" fmla="*/ 717835 h 782117"/>
              <a:gd name="connsiteX7" fmla="*/ 729789 w 743999"/>
              <a:gd name="connsiteY7" fmla="*/ 782117 h 782117"/>
              <a:gd name="connsiteX8" fmla="*/ 744000 w 743999"/>
              <a:gd name="connsiteY8" fmla="*/ 725764 h 782117"/>
              <a:gd name="connsiteX9" fmla="*/ 622083 w 743999"/>
              <a:gd name="connsiteY9" fmla="*/ 601896 h 782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43999" h="782117">
                <a:moveTo>
                  <a:pt x="622083" y="601896"/>
                </a:moveTo>
                <a:lnTo>
                  <a:pt x="619034" y="602384"/>
                </a:lnTo>
                <a:cubicBezTo>
                  <a:pt x="282865" y="602384"/>
                  <a:pt x="9331" y="334461"/>
                  <a:pt x="244" y="488"/>
                </a:cubicBezTo>
                <a:cubicBezTo>
                  <a:pt x="183" y="305"/>
                  <a:pt x="61" y="122"/>
                  <a:pt x="0" y="0"/>
                </a:cubicBezTo>
                <a:lnTo>
                  <a:pt x="0" y="99289"/>
                </a:lnTo>
                <a:cubicBezTo>
                  <a:pt x="0" y="441191"/>
                  <a:pt x="274083" y="718323"/>
                  <a:pt x="615984" y="718323"/>
                </a:cubicBezTo>
                <a:lnTo>
                  <a:pt x="618790" y="717835"/>
                </a:lnTo>
                <a:cubicBezTo>
                  <a:pt x="663799" y="717835"/>
                  <a:pt x="707467" y="746256"/>
                  <a:pt x="729789" y="782117"/>
                </a:cubicBezTo>
                <a:cubicBezTo>
                  <a:pt x="738633" y="765224"/>
                  <a:pt x="743695" y="746073"/>
                  <a:pt x="744000" y="725764"/>
                </a:cubicBezTo>
                <a:cubicBezTo>
                  <a:pt x="743268" y="657213"/>
                  <a:pt x="690818" y="601896"/>
                  <a:pt x="622083" y="601896"/>
                </a:cubicBezTo>
                <a:close/>
              </a:path>
            </a:pathLst>
          </a:custGeom>
          <a:solidFill>
            <a:srgbClr val="0F47F2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18B0163-B2DD-3EC2-8375-DB13C63069C0}"/>
              </a:ext>
            </a:extLst>
          </p:cNvPr>
          <p:cNvSpPr/>
          <p:nvPr/>
        </p:nvSpPr>
        <p:spPr>
          <a:xfrm>
            <a:off x="1784611" y="3476974"/>
            <a:ext cx="1544962" cy="874576"/>
          </a:xfrm>
          <a:custGeom>
            <a:avLst/>
            <a:gdLst>
              <a:gd name="connsiteX0" fmla="*/ 1542096 w 1544962"/>
              <a:gd name="connsiteY0" fmla="*/ 756929 h 874576"/>
              <a:gd name="connsiteX1" fmla="*/ 1538497 w 1544962"/>
              <a:gd name="connsiteY1" fmla="*/ 733388 h 874576"/>
              <a:gd name="connsiteX2" fmla="*/ 1532886 w 1544962"/>
              <a:gd name="connsiteY2" fmla="*/ 733388 h 874576"/>
              <a:gd name="connsiteX3" fmla="*/ 1035464 w 1544962"/>
              <a:gd name="connsiteY3" fmla="*/ 228463 h 874576"/>
              <a:gd name="connsiteX4" fmla="*/ 1029365 w 1544962"/>
              <a:gd name="connsiteY4" fmla="*/ 227426 h 874576"/>
              <a:gd name="connsiteX5" fmla="*/ 1020644 w 1544962"/>
              <a:gd name="connsiteY5" fmla="*/ 226024 h 874576"/>
              <a:gd name="connsiteX6" fmla="*/ 928368 w 1544962"/>
              <a:gd name="connsiteY6" fmla="*/ 219193 h 874576"/>
              <a:gd name="connsiteX7" fmla="*/ 273168 w 1544962"/>
              <a:gd name="connsiteY7" fmla="*/ 219193 h 874576"/>
              <a:gd name="connsiteX8" fmla="*/ 142591 w 1544962"/>
              <a:gd name="connsiteY8" fmla="*/ 186015 h 874576"/>
              <a:gd name="connsiteX9" fmla="*/ 0 w 1544962"/>
              <a:gd name="connsiteY9" fmla="*/ 0 h 874576"/>
              <a:gd name="connsiteX10" fmla="*/ 0 w 1544962"/>
              <a:gd name="connsiteY10" fmla="*/ 61903 h 874576"/>
              <a:gd name="connsiteX11" fmla="*/ 273168 w 1544962"/>
              <a:gd name="connsiteY11" fmla="*/ 335071 h 874576"/>
              <a:gd name="connsiteX12" fmla="*/ 928368 w 1544962"/>
              <a:gd name="connsiteY12" fmla="*/ 335071 h 874576"/>
              <a:gd name="connsiteX13" fmla="*/ 1542279 w 1544962"/>
              <a:gd name="connsiteY13" fmla="*/ 874576 h 874576"/>
              <a:gd name="connsiteX14" fmla="*/ 1544962 w 1544962"/>
              <a:gd name="connsiteY14" fmla="*/ 816820 h 874576"/>
              <a:gd name="connsiteX15" fmla="*/ 1542096 w 1544962"/>
              <a:gd name="connsiteY15" fmla="*/ 756868 h 874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44962" h="874576">
                <a:moveTo>
                  <a:pt x="1542096" y="756929"/>
                </a:moveTo>
                <a:cubicBezTo>
                  <a:pt x="1541059" y="749001"/>
                  <a:pt x="1539839" y="741194"/>
                  <a:pt x="1538497" y="733388"/>
                </a:cubicBezTo>
                <a:lnTo>
                  <a:pt x="1532886" y="733388"/>
                </a:lnTo>
                <a:cubicBezTo>
                  <a:pt x="1489707" y="477724"/>
                  <a:pt x="1289847" y="275363"/>
                  <a:pt x="1035464" y="228463"/>
                </a:cubicBezTo>
                <a:cubicBezTo>
                  <a:pt x="1033451" y="228097"/>
                  <a:pt x="1031439" y="227792"/>
                  <a:pt x="1029365" y="227426"/>
                </a:cubicBezTo>
                <a:cubicBezTo>
                  <a:pt x="1026437" y="226938"/>
                  <a:pt x="1023510" y="226512"/>
                  <a:pt x="1020644" y="226024"/>
                </a:cubicBezTo>
                <a:cubicBezTo>
                  <a:pt x="990515" y="221511"/>
                  <a:pt x="959716" y="219193"/>
                  <a:pt x="928368" y="219193"/>
                </a:cubicBezTo>
                <a:lnTo>
                  <a:pt x="273168" y="219193"/>
                </a:lnTo>
                <a:cubicBezTo>
                  <a:pt x="225841" y="219193"/>
                  <a:pt x="181380" y="207178"/>
                  <a:pt x="142591" y="186015"/>
                </a:cubicBezTo>
                <a:cubicBezTo>
                  <a:pt x="70930" y="148263"/>
                  <a:pt x="17138" y="80566"/>
                  <a:pt x="0" y="0"/>
                </a:cubicBezTo>
                <a:lnTo>
                  <a:pt x="0" y="61903"/>
                </a:lnTo>
                <a:cubicBezTo>
                  <a:pt x="0" y="212789"/>
                  <a:pt x="122282" y="335071"/>
                  <a:pt x="273168" y="335071"/>
                </a:cubicBezTo>
                <a:lnTo>
                  <a:pt x="928368" y="335071"/>
                </a:lnTo>
                <a:cubicBezTo>
                  <a:pt x="1243313" y="335071"/>
                  <a:pt x="1503307" y="570304"/>
                  <a:pt x="1542279" y="874576"/>
                </a:cubicBezTo>
                <a:cubicBezTo>
                  <a:pt x="1543986" y="855548"/>
                  <a:pt x="1544962" y="836275"/>
                  <a:pt x="1544962" y="816820"/>
                </a:cubicBezTo>
                <a:cubicBezTo>
                  <a:pt x="1544962" y="797364"/>
                  <a:pt x="1543925" y="776628"/>
                  <a:pt x="1542096" y="756868"/>
                </a:cubicBezTo>
                <a:close/>
              </a:path>
            </a:pathLst>
          </a:custGeom>
          <a:solidFill>
            <a:srgbClr val="0F47F2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98F6FA54-9C00-30B5-60B6-2BDF43C798C5}"/>
              </a:ext>
            </a:extLst>
          </p:cNvPr>
          <p:cNvSpPr/>
          <p:nvPr/>
        </p:nvSpPr>
        <p:spPr>
          <a:xfrm>
            <a:off x="7492530" y="2675523"/>
            <a:ext cx="1554232" cy="1661389"/>
          </a:xfrm>
          <a:custGeom>
            <a:avLst/>
            <a:gdLst>
              <a:gd name="connsiteX0" fmla="*/ 1547646 w 1554232"/>
              <a:gd name="connsiteY0" fmla="*/ 61 h 1661389"/>
              <a:gd name="connsiteX1" fmla="*/ 569146 w 1554232"/>
              <a:gd name="connsiteY1" fmla="*/ 962705 h 1661389"/>
              <a:gd name="connsiteX2" fmla="*/ 561461 w 1554232"/>
              <a:gd name="connsiteY2" fmla="*/ 965266 h 1661389"/>
              <a:gd name="connsiteX3" fmla="*/ 201689 w 1554232"/>
              <a:gd name="connsiteY3" fmla="*/ 1117189 h 1661389"/>
              <a:gd name="connsiteX4" fmla="*/ 186930 w 1554232"/>
              <a:gd name="connsiteY4" fmla="*/ 1130850 h 1661389"/>
              <a:gd name="connsiteX5" fmla="*/ 183149 w 1554232"/>
              <a:gd name="connsiteY5" fmla="*/ 1134448 h 1661389"/>
              <a:gd name="connsiteX6" fmla="*/ 172598 w 1554232"/>
              <a:gd name="connsiteY6" fmla="*/ 1145000 h 1661389"/>
              <a:gd name="connsiteX7" fmla="*/ 156497 w 1554232"/>
              <a:gd name="connsiteY7" fmla="*/ 1161954 h 1661389"/>
              <a:gd name="connsiteX8" fmla="*/ 154362 w 1554232"/>
              <a:gd name="connsiteY8" fmla="*/ 1164394 h 1661389"/>
              <a:gd name="connsiteX9" fmla="*/ 137834 w 1554232"/>
              <a:gd name="connsiteY9" fmla="*/ 1183483 h 1661389"/>
              <a:gd name="connsiteX10" fmla="*/ 136919 w 1554232"/>
              <a:gd name="connsiteY10" fmla="*/ 1184642 h 1661389"/>
              <a:gd name="connsiteX11" fmla="*/ 121245 w 1554232"/>
              <a:gd name="connsiteY11" fmla="*/ 1204524 h 1661389"/>
              <a:gd name="connsiteX12" fmla="*/ 120270 w 1554232"/>
              <a:gd name="connsiteY12" fmla="*/ 1205805 h 1661389"/>
              <a:gd name="connsiteX13" fmla="*/ 105815 w 1554232"/>
              <a:gd name="connsiteY13" fmla="*/ 1225992 h 1661389"/>
              <a:gd name="connsiteX14" fmla="*/ 103985 w 1554232"/>
              <a:gd name="connsiteY14" fmla="*/ 1228676 h 1661389"/>
              <a:gd name="connsiteX15" fmla="*/ 90995 w 1554232"/>
              <a:gd name="connsiteY15" fmla="*/ 1248680 h 1661389"/>
              <a:gd name="connsiteX16" fmla="*/ 88921 w 1554232"/>
              <a:gd name="connsiteY16" fmla="*/ 1251973 h 1661389"/>
              <a:gd name="connsiteX17" fmla="*/ 77029 w 1554232"/>
              <a:gd name="connsiteY17" fmla="*/ 1272161 h 1661389"/>
              <a:gd name="connsiteX18" fmla="*/ 75138 w 1554232"/>
              <a:gd name="connsiteY18" fmla="*/ 1275576 h 1661389"/>
              <a:gd name="connsiteX19" fmla="*/ 64160 w 1554232"/>
              <a:gd name="connsiteY19" fmla="*/ 1296373 h 1661389"/>
              <a:gd name="connsiteX20" fmla="*/ 62696 w 1554232"/>
              <a:gd name="connsiteY20" fmla="*/ 1299362 h 1661389"/>
              <a:gd name="connsiteX21" fmla="*/ 52389 w 1554232"/>
              <a:gd name="connsiteY21" fmla="*/ 1321134 h 1661389"/>
              <a:gd name="connsiteX22" fmla="*/ 51292 w 1554232"/>
              <a:gd name="connsiteY22" fmla="*/ 1323635 h 1661389"/>
              <a:gd name="connsiteX23" fmla="*/ 44887 w 1554232"/>
              <a:gd name="connsiteY23" fmla="*/ 1338699 h 1661389"/>
              <a:gd name="connsiteX24" fmla="*/ 43058 w 1554232"/>
              <a:gd name="connsiteY24" fmla="*/ 1343212 h 1661389"/>
              <a:gd name="connsiteX25" fmla="*/ 36349 w 1554232"/>
              <a:gd name="connsiteY25" fmla="*/ 1360716 h 1661389"/>
              <a:gd name="connsiteX26" fmla="*/ 35861 w 1554232"/>
              <a:gd name="connsiteY26" fmla="*/ 1361997 h 1661389"/>
              <a:gd name="connsiteX27" fmla="*/ 30189 w 1554232"/>
              <a:gd name="connsiteY27" fmla="*/ 1378525 h 1661389"/>
              <a:gd name="connsiteX28" fmla="*/ 28665 w 1554232"/>
              <a:gd name="connsiteY28" fmla="*/ 1383221 h 1661389"/>
              <a:gd name="connsiteX29" fmla="*/ 23420 w 1554232"/>
              <a:gd name="connsiteY29" fmla="*/ 1400420 h 1661389"/>
              <a:gd name="connsiteX30" fmla="*/ 23176 w 1554232"/>
              <a:gd name="connsiteY30" fmla="*/ 1401152 h 1661389"/>
              <a:gd name="connsiteX31" fmla="*/ 18358 w 1554232"/>
              <a:gd name="connsiteY31" fmla="*/ 1419204 h 1661389"/>
              <a:gd name="connsiteX32" fmla="*/ 17199 w 1554232"/>
              <a:gd name="connsiteY32" fmla="*/ 1423900 h 1661389"/>
              <a:gd name="connsiteX33" fmla="*/ 13479 w 1554232"/>
              <a:gd name="connsiteY33" fmla="*/ 1440001 h 1661389"/>
              <a:gd name="connsiteX34" fmla="*/ 12930 w 1554232"/>
              <a:gd name="connsiteY34" fmla="*/ 1442319 h 1661389"/>
              <a:gd name="connsiteX35" fmla="*/ 9392 w 1554232"/>
              <a:gd name="connsiteY35" fmla="*/ 1460493 h 1661389"/>
              <a:gd name="connsiteX36" fmla="*/ 8600 w 1554232"/>
              <a:gd name="connsiteY36" fmla="*/ 1465128 h 1661389"/>
              <a:gd name="connsiteX37" fmla="*/ 6160 w 1554232"/>
              <a:gd name="connsiteY37" fmla="*/ 1480620 h 1661389"/>
              <a:gd name="connsiteX38" fmla="*/ 5672 w 1554232"/>
              <a:gd name="connsiteY38" fmla="*/ 1483974 h 1661389"/>
              <a:gd name="connsiteX39" fmla="*/ 3415 w 1554232"/>
              <a:gd name="connsiteY39" fmla="*/ 1502270 h 1661389"/>
              <a:gd name="connsiteX40" fmla="*/ 2988 w 1554232"/>
              <a:gd name="connsiteY40" fmla="*/ 1506662 h 1661389"/>
              <a:gd name="connsiteX41" fmla="*/ 1647 w 1554232"/>
              <a:gd name="connsiteY41" fmla="*/ 1521970 h 1661389"/>
              <a:gd name="connsiteX42" fmla="*/ 1342 w 1554232"/>
              <a:gd name="connsiteY42" fmla="*/ 1525934 h 1661389"/>
              <a:gd name="connsiteX43" fmla="*/ 366 w 1554232"/>
              <a:gd name="connsiteY43" fmla="*/ 1544292 h 1661389"/>
              <a:gd name="connsiteX44" fmla="*/ 244 w 1554232"/>
              <a:gd name="connsiteY44" fmla="*/ 1548317 h 1661389"/>
              <a:gd name="connsiteX45" fmla="*/ 0 w 1554232"/>
              <a:gd name="connsiteY45" fmla="*/ 1563686 h 1661389"/>
              <a:gd name="connsiteX46" fmla="*/ 0 w 1554232"/>
              <a:gd name="connsiteY46" fmla="*/ 1568138 h 1661389"/>
              <a:gd name="connsiteX47" fmla="*/ 366 w 1554232"/>
              <a:gd name="connsiteY47" fmla="*/ 1586496 h 1661389"/>
              <a:gd name="connsiteX48" fmla="*/ 488 w 1554232"/>
              <a:gd name="connsiteY48" fmla="*/ 1589850 h 1661389"/>
              <a:gd name="connsiteX49" fmla="*/ 1342 w 1554232"/>
              <a:gd name="connsiteY49" fmla="*/ 1605524 h 1661389"/>
              <a:gd name="connsiteX50" fmla="*/ 1647 w 1554232"/>
              <a:gd name="connsiteY50" fmla="*/ 1610220 h 1661389"/>
              <a:gd name="connsiteX51" fmla="*/ 3294 w 1554232"/>
              <a:gd name="connsiteY51" fmla="*/ 1628578 h 1661389"/>
              <a:gd name="connsiteX52" fmla="*/ 3537 w 1554232"/>
              <a:gd name="connsiteY52" fmla="*/ 1630956 h 1661389"/>
              <a:gd name="connsiteX53" fmla="*/ 5550 w 1554232"/>
              <a:gd name="connsiteY53" fmla="*/ 1647301 h 1661389"/>
              <a:gd name="connsiteX54" fmla="*/ 6221 w 1554232"/>
              <a:gd name="connsiteY54" fmla="*/ 1652119 h 1661389"/>
              <a:gd name="connsiteX55" fmla="*/ 7685 w 1554232"/>
              <a:gd name="connsiteY55" fmla="*/ 1661390 h 1661389"/>
              <a:gd name="connsiteX56" fmla="*/ 207849 w 1554232"/>
              <a:gd name="connsiteY56" fmla="*/ 1257401 h 1661389"/>
              <a:gd name="connsiteX57" fmla="*/ 572195 w 1554232"/>
              <a:gd name="connsiteY57" fmla="*/ 1105235 h 1661389"/>
              <a:gd name="connsiteX58" fmla="*/ 575366 w 1554232"/>
              <a:gd name="connsiteY58" fmla="*/ 1102917 h 1661389"/>
              <a:gd name="connsiteX59" fmla="*/ 1554232 w 1554232"/>
              <a:gd name="connsiteY59" fmla="*/ 113378 h 1661389"/>
              <a:gd name="connsiteX60" fmla="*/ 1547768 w 1554232"/>
              <a:gd name="connsiteY60" fmla="*/ 0 h 1661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554232" h="1661389">
                <a:moveTo>
                  <a:pt x="1547646" y="61"/>
                </a:moveTo>
                <a:cubicBezTo>
                  <a:pt x="1533558" y="534138"/>
                  <a:pt x="1100844" y="962705"/>
                  <a:pt x="569146" y="962705"/>
                </a:cubicBezTo>
                <a:lnTo>
                  <a:pt x="561461" y="965266"/>
                </a:lnTo>
                <a:cubicBezTo>
                  <a:pt x="432897" y="974048"/>
                  <a:pt x="305797" y="1024303"/>
                  <a:pt x="201689" y="1117189"/>
                </a:cubicBezTo>
                <a:cubicBezTo>
                  <a:pt x="196627" y="1121702"/>
                  <a:pt x="191748" y="1126276"/>
                  <a:pt x="186930" y="1130850"/>
                </a:cubicBezTo>
                <a:cubicBezTo>
                  <a:pt x="185649" y="1132070"/>
                  <a:pt x="184429" y="1133290"/>
                  <a:pt x="183149" y="1134448"/>
                </a:cubicBezTo>
                <a:cubicBezTo>
                  <a:pt x="179550" y="1137925"/>
                  <a:pt x="176074" y="1141462"/>
                  <a:pt x="172598" y="1145000"/>
                </a:cubicBezTo>
                <a:cubicBezTo>
                  <a:pt x="167109" y="1150610"/>
                  <a:pt x="161681" y="1156221"/>
                  <a:pt x="156497" y="1161954"/>
                </a:cubicBezTo>
                <a:cubicBezTo>
                  <a:pt x="155765" y="1162747"/>
                  <a:pt x="155033" y="1163540"/>
                  <a:pt x="154362" y="1164394"/>
                </a:cubicBezTo>
                <a:cubicBezTo>
                  <a:pt x="148690" y="1170676"/>
                  <a:pt x="143140" y="1177019"/>
                  <a:pt x="137834" y="1183483"/>
                </a:cubicBezTo>
                <a:cubicBezTo>
                  <a:pt x="137529" y="1183849"/>
                  <a:pt x="137224" y="1184215"/>
                  <a:pt x="136919" y="1184642"/>
                </a:cubicBezTo>
                <a:cubicBezTo>
                  <a:pt x="131552" y="1191168"/>
                  <a:pt x="126307" y="1197815"/>
                  <a:pt x="121245" y="1204524"/>
                </a:cubicBezTo>
                <a:cubicBezTo>
                  <a:pt x="120940" y="1204951"/>
                  <a:pt x="120575" y="1205378"/>
                  <a:pt x="120270" y="1205805"/>
                </a:cubicBezTo>
                <a:cubicBezTo>
                  <a:pt x="115269" y="1212453"/>
                  <a:pt x="110450" y="1219161"/>
                  <a:pt x="105815" y="1225992"/>
                </a:cubicBezTo>
                <a:cubicBezTo>
                  <a:pt x="105205" y="1226907"/>
                  <a:pt x="104596" y="1227761"/>
                  <a:pt x="103985" y="1228676"/>
                </a:cubicBezTo>
                <a:cubicBezTo>
                  <a:pt x="99472" y="1235263"/>
                  <a:pt x="95142" y="1241910"/>
                  <a:pt x="90995" y="1248680"/>
                </a:cubicBezTo>
                <a:cubicBezTo>
                  <a:pt x="90324" y="1249778"/>
                  <a:pt x="89592" y="1250876"/>
                  <a:pt x="88921" y="1251973"/>
                </a:cubicBezTo>
                <a:cubicBezTo>
                  <a:pt x="84835" y="1258621"/>
                  <a:pt x="80871" y="1265391"/>
                  <a:pt x="77029" y="1272161"/>
                </a:cubicBezTo>
                <a:cubicBezTo>
                  <a:pt x="76419" y="1273319"/>
                  <a:pt x="75748" y="1274417"/>
                  <a:pt x="75138" y="1275576"/>
                </a:cubicBezTo>
                <a:cubicBezTo>
                  <a:pt x="71357" y="1282468"/>
                  <a:pt x="67636" y="1289359"/>
                  <a:pt x="64160" y="1296373"/>
                </a:cubicBezTo>
                <a:cubicBezTo>
                  <a:pt x="63672" y="1297349"/>
                  <a:pt x="63184" y="1298386"/>
                  <a:pt x="62696" y="1299362"/>
                </a:cubicBezTo>
                <a:cubicBezTo>
                  <a:pt x="59098" y="1306558"/>
                  <a:pt x="55683" y="1313816"/>
                  <a:pt x="52389" y="1321134"/>
                </a:cubicBezTo>
                <a:cubicBezTo>
                  <a:pt x="52023" y="1321988"/>
                  <a:pt x="51658" y="1322781"/>
                  <a:pt x="51292" y="1323635"/>
                </a:cubicBezTo>
                <a:cubicBezTo>
                  <a:pt x="49096" y="1328636"/>
                  <a:pt x="46961" y="1333637"/>
                  <a:pt x="44887" y="1338699"/>
                </a:cubicBezTo>
                <a:cubicBezTo>
                  <a:pt x="44278" y="1340224"/>
                  <a:pt x="43668" y="1341688"/>
                  <a:pt x="43058" y="1343212"/>
                </a:cubicBezTo>
                <a:cubicBezTo>
                  <a:pt x="40740" y="1349006"/>
                  <a:pt x="38484" y="1354861"/>
                  <a:pt x="36349" y="1360716"/>
                </a:cubicBezTo>
                <a:cubicBezTo>
                  <a:pt x="36166" y="1361143"/>
                  <a:pt x="36044" y="1361570"/>
                  <a:pt x="35861" y="1361997"/>
                </a:cubicBezTo>
                <a:cubicBezTo>
                  <a:pt x="33849" y="1367486"/>
                  <a:pt x="32019" y="1373036"/>
                  <a:pt x="30189" y="1378525"/>
                </a:cubicBezTo>
                <a:cubicBezTo>
                  <a:pt x="29701" y="1380110"/>
                  <a:pt x="29153" y="1381635"/>
                  <a:pt x="28665" y="1383221"/>
                </a:cubicBezTo>
                <a:cubicBezTo>
                  <a:pt x="26835" y="1388954"/>
                  <a:pt x="25066" y="1394687"/>
                  <a:pt x="23420" y="1400420"/>
                </a:cubicBezTo>
                <a:cubicBezTo>
                  <a:pt x="23359" y="1400664"/>
                  <a:pt x="23298" y="1400908"/>
                  <a:pt x="23176" y="1401152"/>
                </a:cubicBezTo>
                <a:cubicBezTo>
                  <a:pt x="21468" y="1407128"/>
                  <a:pt x="19882" y="1413166"/>
                  <a:pt x="18358" y="1419204"/>
                </a:cubicBezTo>
                <a:cubicBezTo>
                  <a:pt x="17931" y="1420790"/>
                  <a:pt x="17565" y="1422375"/>
                  <a:pt x="17199" y="1423900"/>
                </a:cubicBezTo>
                <a:cubicBezTo>
                  <a:pt x="15918" y="1429267"/>
                  <a:pt x="14637" y="1434634"/>
                  <a:pt x="13479" y="1440001"/>
                </a:cubicBezTo>
                <a:cubicBezTo>
                  <a:pt x="13295" y="1440794"/>
                  <a:pt x="13113" y="1441587"/>
                  <a:pt x="12930" y="1442319"/>
                </a:cubicBezTo>
                <a:cubicBezTo>
                  <a:pt x="11649" y="1448357"/>
                  <a:pt x="10490" y="1454394"/>
                  <a:pt x="9392" y="1460493"/>
                </a:cubicBezTo>
                <a:cubicBezTo>
                  <a:pt x="9087" y="1462018"/>
                  <a:pt x="8843" y="1463604"/>
                  <a:pt x="8600" y="1465128"/>
                </a:cubicBezTo>
                <a:cubicBezTo>
                  <a:pt x="7746" y="1470313"/>
                  <a:pt x="6892" y="1475436"/>
                  <a:pt x="6160" y="1480620"/>
                </a:cubicBezTo>
                <a:cubicBezTo>
                  <a:pt x="5977" y="1481717"/>
                  <a:pt x="5794" y="1482815"/>
                  <a:pt x="5672" y="1483974"/>
                </a:cubicBezTo>
                <a:cubicBezTo>
                  <a:pt x="4818" y="1490073"/>
                  <a:pt x="4087" y="1496172"/>
                  <a:pt x="3415" y="1502270"/>
                </a:cubicBezTo>
                <a:cubicBezTo>
                  <a:pt x="3233" y="1503734"/>
                  <a:pt x="3110" y="1505198"/>
                  <a:pt x="2988" y="1506662"/>
                </a:cubicBezTo>
                <a:cubicBezTo>
                  <a:pt x="2501" y="1511785"/>
                  <a:pt x="2013" y="1516908"/>
                  <a:pt x="1647" y="1521970"/>
                </a:cubicBezTo>
                <a:cubicBezTo>
                  <a:pt x="1525" y="1523312"/>
                  <a:pt x="1464" y="1524592"/>
                  <a:pt x="1342" y="1525934"/>
                </a:cubicBezTo>
                <a:cubicBezTo>
                  <a:pt x="915" y="1532033"/>
                  <a:pt x="610" y="1538132"/>
                  <a:pt x="366" y="1544292"/>
                </a:cubicBezTo>
                <a:cubicBezTo>
                  <a:pt x="366" y="1545633"/>
                  <a:pt x="305" y="1546975"/>
                  <a:pt x="244" y="1548317"/>
                </a:cubicBezTo>
                <a:cubicBezTo>
                  <a:pt x="122" y="1553440"/>
                  <a:pt x="0" y="1558563"/>
                  <a:pt x="0" y="1563686"/>
                </a:cubicBezTo>
                <a:cubicBezTo>
                  <a:pt x="0" y="1565150"/>
                  <a:pt x="0" y="1566613"/>
                  <a:pt x="0" y="1568138"/>
                </a:cubicBezTo>
                <a:cubicBezTo>
                  <a:pt x="0" y="1574237"/>
                  <a:pt x="122" y="1580397"/>
                  <a:pt x="366" y="1586496"/>
                </a:cubicBezTo>
                <a:cubicBezTo>
                  <a:pt x="366" y="1587654"/>
                  <a:pt x="488" y="1588752"/>
                  <a:pt x="488" y="1589850"/>
                </a:cubicBezTo>
                <a:cubicBezTo>
                  <a:pt x="671" y="1595095"/>
                  <a:pt x="976" y="1600279"/>
                  <a:pt x="1342" y="1605524"/>
                </a:cubicBezTo>
                <a:cubicBezTo>
                  <a:pt x="1464" y="1607110"/>
                  <a:pt x="1525" y="1608635"/>
                  <a:pt x="1647" y="1610220"/>
                </a:cubicBezTo>
                <a:cubicBezTo>
                  <a:pt x="2074" y="1616380"/>
                  <a:pt x="2622" y="1622479"/>
                  <a:pt x="3294" y="1628578"/>
                </a:cubicBezTo>
                <a:cubicBezTo>
                  <a:pt x="3354" y="1629371"/>
                  <a:pt x="3476" y="1630164"/>
                  <a:pt x="3537" y="1630956"/>
                </a:cubicBezTo>
                <a:cubicBezTo>
                  <a:pt x="4147" y="1636384"/>
                  <a:pt x="4818" y="1641873"/>
                  <a:pt x="5550" y="1647301"/>
                </a:cubicBezTo>
                <a:cubicBezTo>
                  <a:pt x="5794" y="1648887"/>
                  <a:pt x="5977" y="1650534"/>
                  <a:pt x="6221" y="1652119"/>
                </a:cubicBezTo>
                <a:cubicBezTo>
                  <a:pt x="6648" y="1655230"/>
                  <a:pt x="7197" y="1658279"/>
                  <a:pt x="7685" y="1661390"/>
                </a:cubicBezTo>
                <a:cubicBezTo>
                  <a:pt x="18907" y="1511846"/>
                  <a:pt x="86360" y="1365717"/>
                  <a:pt x="207849" y="1257401"/>
                </a:cubicBezTo>
                <a:cubicBezTo>
                  <a:pt x="313176" y="1163479"/>
                  <a:pt x="442106" y="1113102"/>
                  <a:pt x="572195" y="1105235"/>
                </a:cubicBezTo>
                <a:lnTo>
                  <a:pt x="575366" y="1102917"/>
                </a:lnTo>
                <a:cubicBezTo>
                  <a:pt x="1115969" y="1102917"/>
                  <a:pt x="1554232" y="659896"/>
                  <a:pt x="1554232" y="113378"/>
                </a:cubicBezTo>
                <a:cubicBezTo>
                  <a:pt x="1554232" y="75016"/>
                  <a:pt x="1551976" y="37203"/>
                  <a:pt x="1547768" y="0"/>
                </a:cubicBezTo>
                <a:close/>
              </a:path>
            </a:pathLst>
          </a:custGeom>
          <a:solidFill>
            <a:srgbClr val="0F47F2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5187A2C5-9D85-B790-AC0C-A7921802D6F8}"/>
              </a:ext>
            </a:extLst>
          </p:cNvPr>
          <p:cNvSpPr/>
          <p:nvPr/>
        </p:nvSpPr>
        <p:spPr>
          <a:xfrm>
            <a:off x="7544981" y="4485542"/>
            <a:ext cx="1890" cy="4025"/>
          </a:xfrm>
          <a:custGeom>
            <a:avLst/>
            <a:gdLst>
              <a:gd name="connsiteX0" fmla="*/ 0 w 1890"/>
              <a:gd name="connsiteY0" fmla="*/ 0 h 4025"/>
              <a:gd name="connsiteX1" fmla="*/ 1891 w 1890"/>
              <a:gd name="connsiteY1" fmla="*/ 4025 h 4025"/>
              <a:gd name="connsiteX2" fmla="*/ 0 w 1890"/>
              <a:gd name="connsiteY2" fmla="*/ 0 h 4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90" h="4025">
                <a:moveTo>
                  <a:pt x="0" y="0"/>
                </a:moveTo>
                <a:cubicBezTo>
                  <a:pt x="610" y="1342"/>
                  <a:pt x="1219" y="2684"/>
                  <a:pt x="1891" y="4025"/>
                </a:cubicBezTo>
                <a:cubicBezTo>
                  <a:pt x="1281" y="2684"/>
                  <a:pt x="610" y="1342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897F456A-58BA-2047-C654-7759B3DEAB57}"/>
              </a:ext>
            </a:extLst>
          </p:cNvPr>
          <p:cNvSpPr/>
          <p:nvPr/>
        </p:nvSpPr>
        <p:spPr>
          <a:xfrm>
            <a:off x="7521622" y="4425712"/>
            <a:ext cx="853" cy="2622"/>
          </a:xfrm>
          <a:custGeom>
            <a:avLst/>
            <a:gdLst>
              <a:gd name="connsiteX0" fmla="*/ 0 w 853"/>
              <a:gd name="connsiteY0" fmla="*/ 0 h 2622"/>
              <a:gd name="connsiteX1" fmla="*/ 854 w 853"/>
              <a:gd name="connsiteY1" fmla="*/ 2622 h 2622"/>
              <a:gd name="connsiteX2" fmla="*/ 0 w 853"/>
              <a:gd name="connsiteY2" fmla="*/ 0 h 2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3" h="2622">
                <a:moveTo>
                  <a:pt x="0" y="0"/>
                </a:moveTo>
                <a:cubicBezTo>
                  <a:pt x="305" y="854"/>
                  <a:pt x="549" y="1769"/>
                  <a:pt x="854" y="2622"/>
                </a:cubicBezTo>
                <a:cubicBezTo>
                  <a:pt x="549" y="1769"/>
                  <a:pt x="305" y="854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07331ECD-2630-5F8C-26A6-D86802247173}"/>
              </a:ext>
            </a:extLst>
          </p:cNvPr>
          <p:cNvSpPr/>
          <p:nvPr/>
        </p:nvSpPr>
        <p:spPr>
          <a:xfrm>
            <a:off x="7515401" y="4405464"/>
            <a:ext cx="1341" cy="4635"/>
          </a:xfrm>
          <a:custGeom>
            <a:avLst/>
            <a:gdLst>
              <a:gd name="connsiteX0" fmla="*/ 0 w 1341"/>
              <a:gd name="connsiteY0" fmla="*/ 0 h 4635"/>
              <a:gd name="connsiteX1" fmla="*/ 1342 w 1341"/>
              <a:gd name="connsiteY1" fmla="*/ 4635 h 4635"/>
              <a:gd name="connsiteX2" fmla="*/ 0 w 1341"/>
              <a:gd name="connsiteY2" fmla="*/ 0 h 4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41" h="4635">
                <a:moveTo>
                  <a:pt x="0" y="0"/>
                </a:moveTo>
                <a:cubicBezTo>
                  <a:pt x="427" y="1525"/>
                  <a:pt x="915" y="3110"/>
                  <a:pt x="1342" y="4635"/>
                </a:cubicBezTo>
                <a:cubicBezTo>
                  <a:pt x="854" y="3110"/>
                  <a:pt x="427" y="1525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5F340E0-080B-9F0E-378D-CB5C04EFE601}"/>
              </a:ext>
            </a:extLst>
          </p:cNvPr>
          <p:cNvSpPr/>
          <p:nvPr/>
        </p:nvSpPr>
        <p:spPr>
          <a:xfrm>
            <a:off x="7528697" y="4445899"/>
            <a:ext cx="1646" cy="4391"/>
          </a:xfrm>
          <a:custGeom>
            <a:avLst/>
            <a:gdLst>
              <a:gd name="connsiteX0" fmla="*/ 0 w 1646"/>
              <a:gd name="connsiteY0" fmla="*/ 0 h 4391"/>
              <a:gd name="connsiteX1" fmla="*/ 1647 w 1646"/>
              <a:gd name="connsiteY1" fmla="*/ 4391 h 4391"/>
              <a:gd name="connsiteX2" fmla="*/ 0 w 1646"/>
              <a:gd name="connsiteY2" fmla="*/ 0 h 4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46" h="4391">
                <a:moveTo>
                  <a:pt x="0" y="0"/>
                </a:moveTo>
                <a:cubicBezTo>
                  <a:pt x="549" y="1464"/>
                  <a:pt x="1098" y="2928"/>
                  <a:pt x="1647" y="4391"/>
                </a:cubicBezTo>
                <a:cubicBezTo>
                  <a:pt x="1098" y="2928"/>
                  <a:pt x="549" y="1464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24B1C814-75E8-851C-764E-9AEB2AAA1D62}"/>
              </a:ext>
            </a:extLst>
          </p:cNvPr>
          <p:cNvSpPr/>
          <p:nvPr/>
        </p:nvSpPr>
        <p:spPr>
          <a:xfrm>
            <a:off x="7536137" y="4464989"/>
            <a:ext cx="1402" cy="3415"/>
          </a:xfrm>
          <a:custGeom>
            <a:avLst/>
            <a:gdLst>
              <a:gd name="connsiteX0" fmla="*/ 0 w 1402"/>
              <a:gd name="connsiteY0" fmla="*/ 0 h 3415"/>
              <a:gd name="connsiteX1" fmla="*/ 1403 w 1402"/>
              <a:gd name="connsiteY1" fmla="*/ 3415 h 3415"/>
              <a:gd name="connsiteX2" fmla="*/ 0 w 1402"/>
              <a:gd name="connsiteY2" fmla="*/ 0 h 3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02" h="3415">
                <a:moveTo>
                  <a:pt x="0" y="0"/>
                </a:moveTo>
                <a:cubicBezTo>
                  <a:pt x="488" y="1159"/>
                  <a:pt x="915" y="2257"/>
                  <a:pt x="1403" y="3415"/>
                </a:cubicBezTo>
                <a:cubicBezTo>
                  <a:pt x="915" y="2257"/>
                  <a:pt x="488" y="1159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B2310D79-B00A-BF42-F363-A0BBF84A2FA7}"/>
              </a:ext>
            </a:extLst>
          </p:cNvPr>
          <p:cNvSpPr/>
          <p:nvPr/>
        </p:nvSpPr>
        <p:spPr>
          <a:xfrm rot="16214400">
            <a:off x="5513690" y="4704494"/>
            <a:ext cx="403256" cy="3049"/>
          </a:xfrm>
          <a:custGeom>
            <a:avLst/>
            <a:gdLst>
              <a:gd name="connsiteX0" fmla="*/ 0 w 403256"/>
              <a:gd name="connsiteY0" fmla="*/ 0 h 3049"/>
              <a:gd name="connsiteX1" fmla="*/ 403256 w 403256"/>
              <a:gd name="connsiteY1" fmla="*/ 0 h 3049"/>
              <a:gd name="connsiteX2" fmla="*/ 403256 w 403256"/>
              <a:gd name="connsiteY2" fmla="*/ 3049 h 3049"/>
              <a:gd name="connsiteX3" fmla="*/ 0 w 403256"/>
              <a:gd name="connsiteY3" fmla="*/ 3049 h 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256" h="3049">
                <a:moveTo>
                  <a:pt x="0" y="0"/>
                </a:moveTo>
                <a:lnTo>
                  <a:pt x="403256" y="0"/>
                </a:lnTo>
                <a:lnTo>
                  <a:pt x="403256" y="3049"/>
                </a:lnTo>
                <a:lnTo>
                  <a:pt x="0" y="3049"/>
                </a:ln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77F3FC60-D6C7-4EEA-D1CF-BA16BDEA0C01}"/>
              </a:ext>
            </a:extLst>
          </p:cNvPr>
          <p:cNvSpPr/>
          <p:nvPr/>
        </p:nvSpPr>
        <p:spPr>
          <a:xfrm>
            <a:off x="4310488" y="1659149"/>
            <a:ext cx="2366747" cy="1384440"/>
          </a:xfrm>
          <a:custGeom>
            <a:avLst/>
            <a:gdLst>
              <a:gd name="connsiteX0" fmla="*/ 195555 w 2366747"/>
              <a:gd name="connsiteY0" fmla="*/ 356783 h 1384440"/>
              <a:gd name="connsiteX1" fmla="*/ 392 w 2366747"/>
              <a:gd name="connsiteY1" fmla="*/ 606836 h 1384440"/>
              <a:gd name="connsiteX2" fmla="*/ 392 w 2366747"/>
              <a:gd name="connsiteY2" fmla="*/ 1291555 h 1384440"/>
              <a:gd name="connsiteX3" fmla="*/ 3441 w 2366747"/>
              <a:gd name="connsiteY3" fmla="*/ 1286859 h 1384440"/>
              <a:gd name="connsiteX4" fmla="*/ 3441 w 2366747"/>
              <a:gd name="connsiteY4" fmla="*/ 1158783 h 1384440"/>
              <a:gd name="connsiteX5" fmla="*/ 143715 w 2366747"/>
              <a:gd name="connsiteY5" fmla="*/ 1018509 h 1384440"/>
              <a:gd name="connsiteX6" fmla="*/ 1363486 w 2366747"/>
              <a:gd name="connsiteY6" fmla="*/ 1018509 h 1384440"/>
              <a:gd name="connsiteX7" fmla="*/ 1479364 w 2366747"/>
              <a:gd name="connsiteY7" fmla="*/ 1085597 h 1384440"/>
              <a:gd name="connsiteX8" fmla="*/ 1479364 w 2366747"/>
              <a:gd name="connsiteY8" fmla="*/ 1286859 h 1384440"/>
              <a:gd name="connsiteX9" fmla="*/ 1576946 w 2366747"/>
              <a:gd name="connsiteY9" fmla="*/ 1384441 h 1384440"/>
              <a:gd name="connsiteX10" fmla="*/ 1994718 w 2366747"/>
              <a:gd name="connsiteY10" fmla="*/ 1384441 h 1384440"/>
              <a:gd name="connsiteX11" fmla="*/ 1994718 w 2366747"/>
              <a:gd name="connsiteY11" fmla="*/ 1149635 h 1384440"/>
              <a:gd name="connsiteX12" fmla="*/ 2086201 w 2366747"/>
              <a:gd name="connsiteY12" fmla="*/ 954471 h 1384440"/>
              <a:gd name="connsiteX13" fmla="*/ 2366748 w 2366747"/>
              <a:gd name="connsiteY13" fmla="*/ 954471 h 1384440"/>
              <a:gd name="connsiteX14" fmla="*/ 2317957 w 2366747"/>
              <a:gd name="connsiteY14" fmla="*/ 808099 h 1384440"/>
              <a:gd name="connsiteX15" fmla="*/ 2317957 w 2366747"/>
              <a:gd name="connsiteY15" fmla="*/ 673924 h 1384440"/>
              <a:gd name="connsiteX16" fmla="*/ 2147189 w 2366747"/>
              <a:gd name="connsiteY16" fmla="*/ 503156 h 1384440"/>
              <a:gd name="connsiteX17" fmla="*/ 1671478 w 2366747"/>
              <a:gd name="connsiteY17" fmla="*/ 503156 h 1384440"/>
              <a:gd name="connsiteX18" fmla="*/ 1592193 w 2366747"/>
              <a:gd name="connsiteY18" fmla="*/ 417772 h 1384440"/>
              <a:gd name="connsiteX19" fmla="*/ 1592193 w 2366747"/>
              <a:gd name="connsiteY19" fmla="*/ 0 h 1384440"/>
              <a:gd name="connsiteX20" fmla="*/ 415114 w 2366747"/>
              <a:gd name="connsiteY20" fmla="*/ 0 h 1384440"/>
              <a:gd name="connsiteX21" fmla="*/ 415114 w 2366747"/>
              <a:gd name="connsiteY21" fmla="*/ 149422 h 1384440"/>
              <a:gd name="connsiteX22" fmla="*/ 195555 w 2366747"/>
              <a:gd name="connsiteY22" fmla="*/ 356783 h 1384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366747" h="1384440">
                <a:moveTo>
                  <a:pt x="195555" y="356783"/>
                </a:moveTo>
                <a:cubicBezTo>
                  <a:pt x="-17905" y="350684"/>
                  <a:pt x="392" y="606836"/>
                  <a:pt x="392" y="606836"/>
                </a:cubicBezTo>
                <a:lnTo>
                  <a:pt x="392" y="1291555"/>
                </a:lnTo>
                <a:lnTo>
                  <a:pt x="3441" y="1286859"/>
                </a:lnTo>
                <a:lnTo>
                  <a:pt x="3441" y="1158783"/>
                </a:lnTo>
                <a:cubicBezTo>
                  <a:pt x="3441" y="1158783"/>
                  <a:pt x="-14855" y="1018509"/>
                  <a:pt x="143715" y="1018509"/>
                </a:cubicBezTo>
                <a:lnTo>
                  <a:pt x="1363486" y="1018509"/>
                </a:lnTo>
                <a:cubicBezTo>
                  <a:pt x="1363486" y="1018509"/>
                  <a:pt x="1479364" y="1006311"/>
                  <a:pt x="1479364" y="1085597"/>
                </a:cubicBezTo>
                <a:lnTo>
                  <a:pt x="1479364" y="1286859"/>
                </a:lnTo>
                <a:cubicBezTo>
                  <a:pt x="1479364" y="1286859"/>
                  <a:pt x="1473266" y="1384441"/>
                  <a:pt x="1576946" y="1384441"/>
                </a:cubicBezTo>
                <a:lnTo>
                  <a:pt x="1994718" y="1384441"/>
                </a:lnTo>
                <a:lnTo>
                  <a:pt x="1994718" y="1149635"/>
                </a:lnTo>
                <a:cubicBezTo>
                  <a:pt x="1994718" y="1149635"/>
                  <a:pt x="1970322" y="954471"/>
                  <a:pt x="2086201" y="954471"/>
                </a:cubicBezTo>
                <a:lnTo>
                  <a:pt x="2366748" y="954471"/>
                </a:lnTo>
                <a:cubicBezTo>
                  <a:pt x="2366748" y="954471"/>
                  <a:pt x="2317957" y="905680"/>
                  <a:pt x="2317957" y="808099"/>
                </a:cubicBezTo>
                <a:lnTo>
                  <a:pt x="2317957" y="673924"/>
                </a:lnTo>
                <a:cubicBezTo>
                  <a:pt x="2317957" y="673924"/>
                  <a:pt x="2330155" y="509255"/>
                  <a:pt x="2147189" y="503156"/>
                </a:cubicBezTo>
                <a:lnTo>
                  <a:pt x="1671478" y="503156"/>
                </a:lnTo>
                <a:cubicBezTo>
                  <a:pt x="1671478" y="503156"/>
                  <a:pt x="1592193" y="503156"/>
                  <a:pt x="1592193" y="417772"/>
                </a:cubicBezTo>
                <a:lnTo>
                  <a:pt x="1592193" y="0"/>
                </a:lnTo>
                <a:lnTo>
                  <a:pt x="415114" y="0"/>
                </a:lnTo>
                <a:lnTo>
                  <a:pt x="415114" y="149422"/>
                </a:lnTo>
                <a:cubicBezTo>
                  <a:pt x="415114" y="289696"/>
                  <a:pt x="409015" y="362882"/>
                  <a:pt x="195555" y="356783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64B873D6-5330-5ED6-CD8E-076E254A44F1}"/>
              </a:ext>
            </a:extLst>
          </p:cNvPr>
          <p:cNvSpPr/>
          <p:nvPr/>
        </p:nvSpPr>
        <p:spPr>
          <a:xfrm>
            <a:off x="2838006" y="2276658"/>
            <a:ext cx="366" cy="18906"/>
          </a:xfrm>
          <a:custGeom>
            <a:avLst/>
            <a:gdLst>
              <a:gd name="connsiteX0" fmla="*/ 0 w 366"/>
              <a:gd name="connsiteY0" fmla="*/ 0 h 18906"/>
              <a:gd name="connsiteX1" fmla="*/ 0 w 366"/>
              <a:gd name="connsiteY1" fmla="*/ 1525 h 18906"/>
              <a:gd name="connsiteX2" fmla="*/ 244 w 366"/>
              <a:gd name="connsiteY2" fmla="*/ 18662 h 18906"/>
              <a:gd name="connsiteX3" fmla="*/ 366 w 366"/>
              <a:gd name="connsiteY3" fmla="*/ 18906 h 18906"/>
              <a:gd name="connsiteX4" fmla="*/ 0 w 366"/>
              <a:gd name="connsiteY4" fmla="*/ 0 h 1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" h="18906">
                <a:moveTo>
                  <a:pt x="0" y="0"/>
                </a:moveTo>
                <a:cubicBezTo>
                  <a:pt x="0" y="488"/>
                  <a:pt x="0" y="1037"/>
                  <a:pt x="0" y="1525"/>
                </a:cubicBezTo>
                <a:cubicBezTo>
                  <a:pt x="0" y="7258"/>
                  <a:pt x="61" y="12930"/>
                  <a:pt x="244" y="18662"/>
                </a:cubicBezTo>
                <a:cubicBezTo>
                  <a:pt x="244" y="18723"/>
                  <a:pt x="305" y="18845"/>
                  <a:pt x="366" y="18906"/>
                </a:cubicBezTo>
                <a:cubicBezTo>
                  <a:pt x="183" y="12625"/>
                  <a:pt x="0" y="6343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BB9A51C8-54F2-89D7-0686-8892CCEB7D82}"/>
              </a:ext>
            </a:extLst>
          </p:cNvPr>
          <p:cNvSpPr/>
          <p:nvPr/>
        </p:nvSpPr>
        <p:spPr>
          <a:xfrm>
            <a:off x="7505155" y="4364419"/>
            <a:ext cx="1036" cy="4757"/>
          </a:xfrm>
          <a:custGeom>
            <a:avLst/>
            <a:gdLst>
              <a:gd name="connsiteX0" fmla="*/ 0 w 1036"/>
              <a:gd name="connsiteY0" fmla="*/ 0 h 4757"/>
              <a:gd name="connsiteX1" fmla="*/ 1037 w 1036"/>
              <a:gd name="connsiteY1" fmla="*/ 4757 h 4757"/>
              <a:gd name="connsiteX2" fmla="*/ 0 w 1036"/>
              <a:gd name="connsiteY2" fmla="*/ 0 h 4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6" h="4757">
                <a:moveTo>
                  <a:pt x="0" y="0"/>
                </a:moveTo>
                <a:cubicBezTo>
                  <a:pt x="366" y="1586"/>
                  <a:pt x="671" y="3171"/>
                  <a:pt x="1037" y="4757"/>
                </a:cubicBezTo>
                <a:cubicBezTo>
                  <a:pt x="671" y="3171"/>
                  <a:pt x="366" y="1586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3F2F9FA9-9E1F-48C2-DDAA-27B4E548A381}"/>
              </a:ext>
            </a:extLst>
          </p:cNvPr>
          <p:cNvSpPr/>
          <p:nvPr/>
        </p:nvSpPr>
        <p:spPr>
          <a:xfrm>
            <a:off x="7510156" y="4386070"/>
            <a:ext cx="365" cy="1402"/>
          </a:xfrm>
          <a:custGeom>
            <a:avLst/>
            <a:gdLst>
              <a:gd name="connsiteX0" fmla="*/ 0 w 365"/>
              <a:gd name="connsiteY0" fmla="*/ 0 h 1402"/>
              <a:gd name="connsiteX1" fmla="*/ 366 w 365"/>
              <a:gd name="connsiteY1" fmla="*/ 1403 h 1402"/>
              <a:gd name="connsiteX2" fmla="*/ 0 w 365"/>
              <a:gd name="connsiteY2" fmla="*/ 0 h 1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5" h="1402">
                <a:moveTo>
                  <a:pt x="0" y="0"/>
                </a:moveTo>
                <a:cubicBezTo>
                  <a:pt x="122" y="488"/>
                  <a:pt x="244" y="976"/>
                  <a:pt x="366" y="1403"/>
                </a:cubicBezTo>
                <a:cubicBezTo>
                  <a:pt x="244" y="915"/>
                  <a:pt x="122" y="427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28BFF597-390D-8F81-7CD3-BEB03B26EC68}"/>
              </a:ext>
            </a:extLst>
          </p:cNvPr>
          <p:cNvSpPr/>
          <p:nvPr/>
        </p:nvSpPr>
        <p:spPr>
          <a:xfrm>
            <a:off x="7501557" y="4346061"/>
            <a:ext cx="121" cy="731"/>
          </a:xfrm>
          <a:custGeom>
            <a:avLst/>
            <a:gdLst>
              <a:gd name="connsiteX0" fmla="*/ 0 w 121"/>
              <a:gd name="connsiteY0" fmla="*/ 0 h 731"/>
              <a:gd name="connsiteX1" fmla="*/ 122 w 121"/>
              <a:gd name="connsiteY1" fmla="*/ 732 h 731"/>
              <a:gd name="connsiteX2" fmla="*/ 0 w 121"/>
              <a:gd name="connsiteY2" fmla="*/ 0 h 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" h="731">
                <a:moveTo>
                  <a:pt x="0" y="0"/>
                </a:moveTo>
                <a:cubicBezTo>
                  <a:pt x="0" y="0"/>
                  <a:pt x="122" y="488"/>
                  <a:pt x="122" y="732"/>
                </a:cubicBezTo>
                <a:cubicBezTo>
                  <a:pt x="122" y="488"/>
                  <a:pt x="0" y="244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D5BF717D-8CC7-148A-4FC9-E651406875A0}"/>
              </a:ext>
            </a:extLst>
          </p:cNvPr>
          <p:cNvSpPr/>
          <p:nvPr/>
        </p:nvSpPr>
        <p:spPr>
          <a:xfrm>
            <a:off x="5713616" y="4907522"/>
            <a:ext cx="3049" cy="642697"/>
          </a:xfrm>
          <a:custGeom>
            <a:avLst/>
            <a:gdLst>
              <a:gd name="connsiteX0" fmla="*/ 0 w 3049"/>
              <a:gd name="connsiteY0" fmla="*/ 642698 h 642697"/>
              <a:gd name="connsiteX1" fmla="*/ 2927 w 3049"/>
              <a:gd name="connsiteY1" fmla="*/ 642698 h 642697"/>
              <a:gd name="connsiteX2" fmla="*/ 3049 w 3049"/>
              <a:gd name="connsiteY2" fmla="*/ 636599 h 642697"/>
              <a:gd name="connsiteX3" fmla="*/ 3049 w 3049"/>
              <a:gd name="connsiteY3" fmla="*/ 0 h 642697"/>
              <a:gd name="connsiteX4" fmla="*/ 0 w 3049"/>
              <a:gd name="connsiteY4" fmla="*/ 0 h 642697"/>
              <a:gd name="connsiteX5" fmla="*/ 0 w 3049"/>
              <a:gd name="connsiteY5" fmla="*/ 642698 h 6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9" h="642697">
                <a:moveTo>
                  <a:pt x="0" y="642698"/>
                </a:moveTo>
                <a:lnTo>
                  <a:pt x="2927" y="642698"/>
                </a:lnTo>
                <a:cubicBezTo>
                  <a:pt x="2927" y="642698"/>
                  <a:pt x="3049" y="636599"/>
                  <a:pt x="3049" y="636599"/>
                </a:cubicBezTo>
                <a:lnTo>
                  <a:pt x="3049" y="0"/>
                </a:lnTo>
                <a:lnTo>
                  <a:pt x="0" y="0"/>
                </a:lnTo>
                <a:cubicBezTo>
                  <a:pt x="0" y="0"/>
                  <a:pt x="0" y="642698"/>
                  <a:pt x="0" y="642698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AD8168B9-F5D7-B9EF-652A-409F43538540}"/>
              </a:ext>
            </a:extLst>
          </p:cNvPr>
          <p:cNvSpPr/>
          <p:nvPr/>
        </p:nvSpPr>
        <p:spPr>
          <a:xfrm>
            <a:off x="2838250" y="2295321"/>
            <a:ext cx="743816" cy="725276"/>
          </a:xfrm>
          <a:custGeom>
            <a:avLst/>
            <a:gdLst>
              <a:gd name="connsiteX0" fmla="*/ 618790 w 743816"/>
              <a:gd name="connsiteY0" fmla="*/ 601896 h 725276"/>
              <a:gd name="connsiteX1" fmla="*/ 621839 w 743816"/>
              <a:gd name="connsiteY1" fmla="*/ 601408 h 725276"/>
              <a:gd name="connsiteX2" fmla="*/ 743756 w 743816"/>
              <a:gd name="connsiteY2" fmla="*/ 725276 h 725276"/>
              <a:gd name="connsiteX3" fmla="*/ 743816 w 743816"/>
              <a:gd name="connsiteY3" fmla="*/ 723629 h 725276"/>
              <a:gd name="connsiteX4" fmla="*/ 621839 w 743816"/>
              <a:gd name="connsiteY4" fmla="*/ 598359 h 725276"/>
              <a:gd name="connsiteX5" fmla="*/ 618790 w 743816"/>
              <a:gd name="connsiteY5" fmla="*/ 598847 h 725276"/>
              <a:gd name="connsiteX6" fmla="*/ 122 w 743816"/>
              <a:gd name="connsiteY6" fmla="*/ 244 h 725276"/>
              <a:gd name="connsiteX7" fmla="*/ 0 w 743816"/>
              <a:gd name="connsiteY7" fmla="*/ 0 h 725276"/>
              <a:gd name="connsiteX8" fmla="*/ 618790 w 743816"/>
              <a:gd name="connsiteY8" fmla="*/ 601896 h 72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43816" h="725276">
                <a:moveTo>
                  <a:pt x="618790" y="601896"/>
                </a:moveTo>
                <a:lnTo>
                  <a:pt x="621839" y="601408"/>
                </a:lnTo>
                <a:cubicBezTo>
                  <a:pt x="690574" y="601408"/>
                  <a:pt x="743024" y="656725"/>
                  <a:pt x="743756" y="725276"/>
                </a:cubicBezTo>
                <a:cubicBezTo>
                  <a:pt x="743756" y="724727"/>
                  <a:pt x="743816" y="724178"/>
                  <a:pt x="743816" y="723629"/>
                </a:cubicBezTo>
                <a:cubicBezTo>
                  <a:pt x="743816" y="654468"/>
                  <a:pt x="691000" y="598359"/>
                  <a:pt x="621839" y="598359"/>
                </a:cubicBezTo>
                <a:lnTo>
                  <a:pt x="618790" y="598847"/>
                </a:lnTo>
                <a:cubicBezTo>
                  <a:pt x="283719" y="598847"/>
                  <a:pt x="10917" y="332632"/>
                  <a:pt x="122" y="244"/>
                </a:cubicBezTo>
                <a:cubicBezTo>
                  <a:pt x="122" y="183"/>
                  <a:pt x="61" y="61"/>
                  <a:pt x="0" y="0"/>
                </a:cubicBezTo>
                <a:cubicBezTo>
                  <a:pt x="9087" y="333973"/>
                  <a:pt x="282621" y="601896"/>
                  <a:pt x="618790" y="601896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1B486B02-41CC-1804-5724-9D97EA1B8A72}"/>
              </a:ext>
            </a:extLst>
          </p:cNvPr>
          <p:cNvSpPr/>
          <p:nvPr/>
        </p:nvSpPr>
        <p:spPr>
          <a:xfrm>
            <a:off x="1927142" y="3662989"/>
            <a:ext cx="878052" cy="40008"/>
          </a:xfrm>
          <a:custGeom>
            <a:avLst/>
            <a:gdLst>
              <a:gd name="connsiteX0" fmla="*/ 761686 w 878052"/>
              <a:gd name="connsiteY0" fmla="*/ 32141 h 40008"/>
              <a:gd name="connsiteX1" fmla="*/ 129540 w 878052"/>
              <a:gd name="connsiteY1" fmla="*/ 32141 h 40008"/>
              <a:gd name="connsiteX2" fmla="*/ 0 w 878052"/>
              <a:gd name="connsiteY2" fmla="*/ 0 h 40008"/>
              <a:gd name="connsiteX3" fmla="*/ 130577 w 878052"/>
              <a:gd name="connsiteY3" fmla="*/ 33178 h 40008"/>
              <a:gd name="connsiteX4" fmla="*/ 785777 w 878052"/>
              <a:gd name="connsiteY4" fmla="*/ 33178 h 40008"/>
              <a:gd name="connsiteX5" fmla="*/ 878052 w 878052"/>
              <a:gd name="connsiteY5" fmla="*/ 40008 h 40008"/>
              <a:gd name="connsiteX6" fmla="*/ 779922 w 878052"/>
              <a:gd name="connsiteY6" fmla="*/ 32141 h 40008"/>
              <a:gd name="connsiteX7" fmla="*/ 761625 w 878052"/>
              <a:gd name="connsiteY7" fmla="*/ 32141 h 40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8052" h="40008">
                <a:moveTo>
                  <a:pt x="761686" y="32141"/>
                </a:moveTo>
                <a:lnTo>
                  <a:pt x="129540" y="32141"/>
                </a:lnTo>
                <a:cubicBezTo>
                  <a:pt x="83066" y="32141"/>
                  <a:pt x="38911" y="20492"/>
                  <a:pt x="0" y="0"/>
                </a:cubicBezTo>
                <a:cubicBezTo>
                  <a:pt x="38789" y="21163"/>
                  <a:pt x="83310" y="33178"/>
                  <a:pt x="130577" y="33178"/>
                </a:cubicBezTo>
                <a:lnTo>
                  <a:pt x="785777" y="33178"/>
                </a:lnTo>
                <a:cubicBezTo>
                  <a:pt x="817125" y="33178"/>
                  <a:pt x="847985" y="35556"/>
                  <a:pt x="878052" y="40008"/>
                </a:cubicBezTo>
                <a:cubicBezTo>
                  <a:pt x="846094" y="34885"/>
                  <a:pt x="813343" y="32141"/>
                  <a:pt x="779922" y="32141"/>
                </a:cubicBezTo>
                <a:lnTo>
                  <a:pt x="761625" y="32141"/>
                </a:ln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52F388AC-C04A-7C15-68DB-3E15C6E87A6A}"/>
              </a:ext>
            </a:extLst>
          </p:cNvPr>
          <p:cNvSpPr/>
          <p:nvPr/>
        </p:nvSpPr>
        <p:spPr>
          <a:xfrm>
            <a:off x="2813976" y="3704401"/>
            <a:ext cx="6098" cy="1036"/>
          </a:xfrm>
          <a:custGeom>
            <a:avLst/>
            <a:gdLst>
              <a:gd name="connsiteX0" fmla="*/ 6099 w 6098"/>
              <a:gd name="connsiteY0" fmla="*/ 1037 h 1036"/>
              <a:gd name="connsiteX1" fmla="*/ 0 w 6098"/>
              <a:gd name="connsiteY1" fmla="*/ 0 h 1036"/>
              <a:gd name="connsiteX2" fmla="*/ 6099 w 6098"/>
              <a:gd name="connsiteY2" fmla="*/ 1037 h 1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98" h="1036">
                <a:moveTo>
                  <a:pt x="6099" y="1037"/>
                </a:moveTo>
                <a:cubicBezTo>
                  <a:pt x="4086" y="671"/>
                  <a:pt x="2074" y="366"/>
                  <a:pt x="0" y="0"/>
                </a:cubicBezTo>
                <a:cubicBezTo>
                  <a:pt x="2013" y="305"/>
                  <a:pt x="4086" y="671"/>
                  <a:pt x="6099" y="1037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A481CB15-38AD-FB75-F1D4-B6DD9B7F2182}"/>
              </a:ext>
            </a:extLst>
          </p:cNvPr>
          <p:cNvSpPr/>
          <p:nvPr/>
        </p:nvSpPr>
        <p:spPr>
          <a:xfrm>
            <a:off x="7554983" y="3971896"/>
            <a:ext cx="1464" cy="2988"/>
          </a:xfrm>
          <a:custGeom>
            <a:avLst/>
            <a:gdLst>
              <a:gd name="connsiteX0" fmla="*/ 1464 w 1464"/>
              <a:gd name="connsiteY0" fmla="*/ 0 h 2988"/>
              <a:gd name="connsiteX1" fmla="*/ 0 w 1464"/>
              <a:gd name="connsiteY1" fmla="*/ 2989 h 2988"/>
              <a:gd name="connsiteX2" fmla="*/ 1464 w 1464"/>
              <a:gd name="connsiteY2" fmla="*/ 0 h 2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64" h="2988">
                <a:moveTo>
                  <a:pt x="1464" y="0"/>
                </a:moveTo>
                <a:cubicBezTo>
                  <a:pt x="976" y="976"/>
                  <a:pt x="488" y="2013"/>
                  <a:pt x="0" y="2989"/>
                </a:cubicBezTo>
                <a:cubicBezTo>
                  <a:pt x="488" y="2013"/>
                  <a:pt x="976" y="976"/>
                  <a:pt x="1464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9643FA6D-407A-357E-4A7B-FE0C3CAB8867}"/>
              </a:ext>
            </a:extLst>
          </p:cNvPr>
          <p:cNvSpPr/>
          <p:nvPr/>
        </p:nvSpPr>
        <p:spPr>
          <a:xfrm>
            <a:off x="7493628" y="4197676"/>
            <a:ext cx="305" cy="3964"/>
          </a:xfrm>
          <a:custGeom>
            <a:avLst/>
            <a:gdLst>
              <a:gd name="connsiteX0" fmla="*/ 305 w 305"/>
              <a:gd name="connsiteY0" fmla="*/ 0 h 3964"/>
              <a:gd name="connsiteX1" fmla="*/ 0 w 305"/>
              <a:gd name="connsiteY1" fmla="*/ 3964 h 3964"/>
              <a:gd name="connsiteX2" fmla="*/ 305 w 305"/>
              <a:gd name="connsiteY2" fmla="*/ 0 h 3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5" h="3964">
                <a:moveTo>
                  <a:pt x="305" y="0"/>
                </a:moveTo>
                <a:cubicBezTo>
                  <a:pt x="183" y="1342"/>
                  <a:pt x="122" y="2622"/>
                  <a:pt x="0" y="3964"/>
                </a:cubicBezTo>
                <a:cubicBezTo>
                  <a:pt x="61" y="2622"/>
                  <a:pt x="183" y="1342"/>
                  <a:pt x="305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BDDCACA1-3740-4B2E-FA1A-B4318ED623A9}"/>
              </a:ext>
            </a:extLst>
          </p:cNvPr>
          <p:cNvSpPr/>
          <p:nvPr/>
        </p:nvSpPr>
        <p:spPr>
          <a:xfrm>
            <a:off x="7629328" y="3859067"/>
            <a:ext cx="914" cy="1158"/>
          </a:xfrm>
          <a:custGeom>
            <a:avLst/>
            <a:gdLst>
              <a:gd name="connsiteX0" fmla="*/ 915 w 914"/>
              <a:gd name="connsiteY0" fmla="*/ 0 h 1158"/>
              <a:gd name="connsiteX1" fmla="*/ 0 w 914"/>
              <a:gd name="connsiteY1" fmla="*/ 1159 h 1158"/>
              <a:gd name="connsiteX2" fmla="*/ 915 w 914"/>
              <a:gd name="connsiteY2" fmla="*/ 0 h 1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4" h="1158">
                <a:moveTo>
                  <a:pt x="915" y="0"/>
                </a:moveTo>
                <a:cubicBezTo>
                  <a:pt x="610" y="366"/>
                  <a:pt x="305" y="732"/>
                  <a:pt x="0" y="1159"/>
                </a:cubicBezTo>
                <a:cubicBezTo>
                  <a:pt x="305" y="793"/>
                  <a:pt x="610" y="427"/>
                  <a:pt x="915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F92D9F9-2FBC-50CE-4BAD-8D232E4C66A5}"/>
              </a:ext>
            </a:extLst>
          </p:cNvPr>
          <p:cNvSpPr/>
          <p:nvPr/>
        </p:nvSpPr>
        <p:spPr>
          <a:xfrm>
            <a:off x="7646771" y="3837539"/>
            <a:ext cx="2134" cy="2439"/>
          </a:xfrm>
          <a:custGeom>
            <a:avLst/>
            <a:gdLst>
              <a:gd name="connsiteX0" fmla="*/ 2134 w 2134"/>
              <a:gd name="connsiteY0" fmla="*/ 0 h 2439"/>
              <a:gd name="connsiteX1" fmla="*/ 0 w 2134"/>
              <a:gd name="connsiteY1" fmla="*/ 2440 h 2439"/>
              <a:gd name="connsiteX2" fmla="*/ 2134 w 2134"/>
              <a:gd name="connsiteY2" fmla="*/ 0 h 2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34" h="2439">
                <a:moveTo>
                  <a:pt x="2134" y="0"/>
                </a:moveTo>
                <a:cubicBezTo>
                  <a:pt x="1403" y="793"/>
                  <a:pt x="671" y="1586"/>
                  <a:pt x="0" y="2440"/>
                </a:cubicBezTo>
                <a:cubicBezTo>
                  <a:pt x="732" y="1647"/>
                  <a:pt x="1464" y="854"/>
                  <a:pt x="2134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491F14DC-5E65-8327-B1C3-6BBDB8321BE9}"/>
              </a:ext>
            </a:extLst>
          </p:cNvPr>
          <p:cNvSpPr/>
          <p:nvPr/>
        </p:nvSpPr>
        <p:spPr>
          <a:xfrm>
            <a:off x="7509424" y="4094849"/>
            <a:ext cx="1158" cy="4696"/>
          </a:xfrm>
          <a:custGeom>
            <a:avLst/>
            <a:gdLst>
              <a:gd name="connsiteX0" fmla="*/ 1159 w 1158"/>
              <a:gd name="connsiteY0" fmla="*/ 0 h 4696"/>
              <a:gd name="connsiteX1" fmla="*/ 0 w 1158"/>
              <a:gd name="connsiteY1" fmla="*/ 4696 h 4696"/>
              <a:gd name="connsiteX2" fmla="*/ 1159 w 1158"/>
              <a:gd name="connsiteY2" fmla="*/ 0 h 4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58" h="4696">
                <a:moveTo>
                  <a:pt x="1159" y="0"/>
                </a:moveTo>
                <a:cubicBezTo>
                  <a:pt x="732" y="1586"/>
                  <a:pt x="366" y="3172"/>
                  <a:pt x="0" y="4696"/>
                </a:cubicBezTo>
                <a:cubicBezTo>
                  <a:pt x="366" y="3110"/>
                  <a:pt x="793" y="1525"/>
                  <a:pt x="1159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9F2A0BF0-0AE7-0F0A-B44C-577BC0918450}"/>
              </a:ext>
            </a:extLst>
          </p:cNvPr>
          <p:cNvSpPr/>
          <p:nvPr/>
        </p:nvSpPr>
        <p:spPr>
          <a:xfrm>
            <a:off x="7675618" y="3806373"/>
            <a:ext cx="3781" cy="3598"/>
          </a:xfrm>
          <a:custGeom>
            <a:avLst/>
            <a:gdLst>
              <a:gd name="connsiteX0" fmla="*/ 3781 w 3781"/>
              <a:gd name="connsiteY0" fmla="*/ 0 h 3598"/>
              <a:gd name="connsiteX1" fmla="*/ 0 w 3781"/>
              <a:gd name="connsiteY1" fmla="*/ 3598 h 3598"/>
              <a:gd name="connsiteX2" fmla="*/ 3781 w 3781"/>
              <a:gd name="connsiteY2" fmla="*/ 0 h 3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81" h="3598">
                <a:moveTo>
                  <a:pt x="3781" y="0"/>
                </a:moveTo>
                <a:cubicBezTo>
                  <a:pt x="2500" y="1220"/>
                  <a:pt x="1281" y="2440"/>
                  <a:pt x="0" y="3598"/>
                </a:cubicBezTo>
                <a:cubicBezTo>
                  <a:pt x="1281" y="2378"/>
                  <a:pt x="2500" y="1159"/>
                  <a:pt x="3781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AC474056-B688-C28E-9CE7-D9A807454AAD}"/>
              </a:ext>
            </a:extLst>
          </p:cNvPr>
          <p:cNvSpPr/>
          <p:nvPr/>
        </p:nvSpPr>
        <p:spPr>
          <a:xfrm>
            <a:off x="7505155" y="4115646"/>
            <a:ext cx="549" cy="2317"/>
          </a:xfrm>
          <a:custGeom>
            <a:avLst/>
            <a:gdLst>
              <a:gd name="connsiteX0" fmla="*/ 549 w 549"/>
              <a:gd name="connsiteY0" fmla="*/ 0 h 2317"/>
              <a:gd name="connsiteX1" fmla="*/ 0 w 549"/>
              <a:gd name="connsiteY1" fmla="*/ 2318 h 2317"/>
              <a:gd name="connsiteX2" fmla="*/ 549 w 549"/>
              <a:gd name="connsiteY2" fmla="*/ 0 h 2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9" h="2317">
                <a:moveTo>
                  <a:pt x="549" y="0"/>
                </a:moveTo>
                <a:cubicBezTo>
                  <a:pt x="366" y="793"/>
                  <a:pt x="183" y="1586"/>
                  <a:pt x="0" y="2318"/>
                </a:cubicBezTo>
                <a:cubicBezTo>
                  <a:pt x="183" y="1525"/>
                  <a:pt x="366" y="732"/>
                  <a:pt x="549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9D601A1F-8D2A-390E-353E-2DE295ABFB3D}"/>
              </a:ext>
            </a:extLst>
          </p:cNvPr>
          <p:cNvSpPr/>
          <p:nvPr/>
        </p:nvSpPr>
        <p:spPr>
          <a:xfrm>
            <a:off x="7515401" y="4076065"/>
            <a:ext cx="244" cy="731"/>
          </a:xfrm>
          <a:custGeom>
            <a:avLst/>
            <a:gdLst>
              <a:gd name="connsiteX0" fmla="*/ 244 w 244"/>
              <a:gd name="connsiteY0" fmla="*/ 0 h 731"/>
              <a:gd name="connsiteX1" fmla="*/ 0 w 244"/>
              <a:gd name="connsiteY1" fmla="*/ 732 h 731"/>
              <a:gd name="connsiteX2" fmla="*/ 244 w 244"/>
              <a:gd name="connsiteY2" fmla="*/ 0 h 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4" h="731">
                <a:moveTo>
                  <a:pt x="244" y="0"/>
                </a:moveTo>
                <a:cubicBezTo>
                  <a:pt x="244" y="0"/>
                  <a:pt x="122" y="488"/>
                  <a:pt x="0" y="732"/>
                </a:cubicBezTo>
                <a:cubicBezTo>
                  <a:pt x="61" y="488"/>
                  <a:pt x="122" y="244"/>
                  <a:pt x="244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9E53805A-7630-17E2-09B4-F9708C3CD40F}"/>
              </a:ext>
            </a:extLst>
          </p:cNvPr>
          <p:cNvSpPr/>
          <p:nvPr/>
        </p:nvSpPr>
        <p:spPr>
          <a:xfrm>
            <a:off x="7528087" y="4036239"/>
            <a:ext cx="488" cy="1280"/>
          </a:xfrm>
          <a:custGeom>
            <a:avLst/>
            <a:gdLst>
              <a:gd name="connsiteX0" fmla="*/ 488 w 488"/>
              <a:gd name="connsiteY0" fmla="*/ 0 h 1280"/>
              <a:gd name="connsiteX1" fmla="*/ 0 w 488"/>
              <a:gd name="connsiteY1" fmla="*/ 1281 h 1280"/>
              <a:gd name="connsiteX2" fmla="*/ 488 w 488"/>
              <a:gd name="connsiteY2" fmla="*/ 0 h 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8" h="1280">
                <a:moveTo>
                  <a:pt x="488" y="0"/>
                </a:moveTo>
                <a:cubicBezTo>
                  <a:pt x="305" y="427"/>
                  <a:pt x="183" y="854"/>
                  <a:pt x="0" y="1281"/>
                </a:cubicBezTo>
                <a:cubicBezTo>
                  <a:pt x="183" y="854"/>
                  <a:pt x="305" y="427"/>
                  <a:pt x="488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38C0A001-D542-5C73-A462-01F83F4631F9}"/>
              </a:ext>
            </a:extLst>
          </p:cNvPr>
          <p:cNvSpPr/>
          <p:nvPr/>
        </p:nvSpPr>
        <p:spPr>
          <a:xfrm>
            <a:off x="7492591" y="4219998"/>
            <a:ext cx="122" cy="4025"/>
          </a:xfrm>
          <a:custGeom>
            <a:avLst/>
            <a:gdLst>
              <a:gd name="connsiteX0" fmla="*/ 122 w 122"/>
              <a:gd name="connsiteY0" fmla="*/ 0 h 4025"/>
              <a:gd name="connsiteX1" fmla="*/ 0 w 122"/>
              <a:gd name="connsiteY1" fmla="*/ 4025 h 4025"/>
              <a:gd name="connsiteX2" fmla="*/ 122 w 122"/>
              <a:gd name="connsiteY2" fmla="*/ 0 h 4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2" h="4025">
                <a:moveTo>
                  <a:pt x="122" y="0"/>
                </a:moveTo>
                <a:cubicBezTo>
                  <a:pt x="122" y="1342"/>
                  <a:pt x="61" y="2683"/>
                  <a:pt x="0" y="4025"/>
                </a:cubicBezTo>
                <a:cubicBezTo>
                  <a:pt x="0" y="2683"/>
                  <a:pt x="61" y="1342"/>
                  <a:pt x="122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8E83439A-F01F-5185-8140-362319E66FD1}"/>
              </a:ext>
            </a:extLst>
          </p:cNvPr>
          <p:cNvSpPr/>
          <p:nvPr/>
        </p:nvSpPr>
        <p:spPr>
          <a:xfrm>
            <a:off x="7612617" y="3880048"/>
            <a:ext cx="976" cy="1280"/>
          </a:xfrm>
          <a:custGeom>
            <a:avLst/>
            <a:gdLst>
              <a:gd name="connsiteX0" fmla="*/ 976 w 976"/>
              <a:gd name="connsiteY0" fmla="*/ 0 h 1280"/>
              <a:gd name="connsiteX1" fmla="*/ 0 w 976"/>
              <a:gd name="connsiteY1" fmla="*/ 1281 h 1280"/>
              <a:gd name="connsiteX2" fmla="*/ 976 w 976"/>
              <a:gd name="connsiteY2" fmla="*/ 0 h 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6" h="1280">
                <a:moveTo>
                  <a:pt x="976" y="0"/>
                </a:moveTo>
                <a:cubicBezTo>
                  <a:pt x="671" y="427"/>
                  <a:pt x="305" y="854"/>
                  <a:pt x="0" y="1281"/>
                </a:cubicBezTo>
                <a:cubicBezTo>
                  <a:pt x="305" y="854"/>
                  <a:pt x="671" y="427"/>
                  <a:pt x="976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72" name="Freeform: Shape 1471">
            <a:extLst>
              <a:ext uri="{FF2B5EF4-FFF2-40B4-BE49-F238E27FC236}">
                <a16:creationId xmlns:a16="http://schemas.microsoft.com/office/drawing/2014/main" id="{0757F1E4-D49B-9BE2-0E00-AB031F4B9937}"/>
              </a:ext>
            </a:extLst>
          </p:cNvPr>
          <p:cNvSpPr/>
          <p:nvPr/>
        </p:nvSpPr>
        <p:spPr>
          <a:xfrm>
            <a:off x="7495275" y="4177916"/>
            <a:ext cx="426" cy="4391"/>
          </a:xfrm>
          <a:custGeom>
            <a:avLst/>
            <a:gdLst>
              <a:gd name="connsiteX0" fmla="*/ 427 w 426"/>
              <a:gd name="connsiteY0" fmla="*/ 0 h 4391"/>
              <a:gd name="connsiteX1" fmla="*/ 0 w 426"/>
              <a:gd name="connsiteY1" fmla="*/ 4391 h 4391"/>
              <a:gd name="connsiteX2" fmla="*/ 427 w 426"/>
              <a:gd name="connsiteY2" fmla="*/ 0 h 4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6" h="4391">
                <a:moveTo>
                  <a:pt x="427" y="0"/>
                </a:moveTo>
                <a:cubicBezTo>
                  <a:pt x="244" y="1464"/>
                  <a:pt x="122" y="2928"/>
                  <a:pt x="0" y="4391"/>
                </a:cubicBezTo>
                <a:cubicBezTo>
                  <a:pt x="122" y="2928"/>
                  <a:pt x="305" y="1464"/>
                  <a:pt x="427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74" name="Freeform: Shape 1473">
            <a:extLst>
              <a:ext uri="{FF2B5EF4-FFF2-40B4-BE49-F238E27FC236}">
                <a16:creationId xmlns:a16="http://schemas.microsoft.com/office/drawing/2014/main" id="{F0E54D6C-556D-A121-A18F-6E02021668B2}"/>
              </a:ext>
            </a:extLst>
          </p:cNvPr>
          <p:cNvSpPr/>
          <p:nvPr/>
        </p:nvSpPr>
        <p:spPr>
          <a:xfrm>
            <a:off x="7495580" y="4304223"/>
            <a:ext cx="244" cy="2378"/>
          </a:xfrm>
          <a:custGeom>
            <a:avLst/>
            <a:gdLst>
              <a:gd name="connsiteX0" fmla="*/ 0 w 244"/>
              <a:gd name="connsiteY0" fmla="*/ 0 h 2378"/>
              <a:gd name="connsiteX1" fmla="*/ 244 w 244"/>
              <a:gd name="connsiteY1" fmla="*/ 2378 h 2378"/>
              <a:gd name="connsiteX2" fmla="*/ 0 w 244"/>
              <a:gd name="connsiteY2" fmla="*/ 0 h 23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4" h="2378">
                <a:moveTo>
                  <a:pt x="0" y="0"/>
                </a:moveTo>
                <a:cubicBezTo>
                  <a:pt x="61" y="793"/>
                  <a:pt x="183" y="1586"/>
                  <a:pt x="244" y="2378"/>
                </a:cubicBezTo>
                <a:cubicBezTo>
                  <a:pt x="183" y="1586"/>
                  <a:pt x="61" y="793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76" name="Freeform: Shape 1475">
            <a:extLst>
              <a:ext uri="{FF2B5EF4-FFF2-40B4-BE49-F238E27FC236}">
                <a16:creationId xmlns:a16="http://schemas.microsoft.com/office/drawing/2014/main" id="{7231A451-5316-E229-04BF-22022D064595}"/>
              </a:ext>
            </a:extLst>
          </p:cNvPr>
          <p:cNvSpPr/>
          <p:nvPr/>
        </p:nvSpPr>
        <p:spPr>
          <a:xfrm>
            <a:off x="7493628" y="4281169"/>
            <a:ext cx="305" cy="4696"/>
          </a:xfrm>
          <a:custGeom>
            <a:avLst/>
            <a:gdLst>
              <a:gd name="connsiteX0" fmla="*/ 0 w 305"/>
              <a:gd name="connsiteY0" fmla="*/ 0 h 4696"/>
              <a:gd name="connsiteX1" fmla="*/ 305 w 305"/>
              <a:gd name="connsiteY1" fmla="*/ 4696 h 4696"/>
              <a:gd name="connsiteX2" fmla="*/ 0 w 305"/>
              <a:gd name="connsiteY2" fmla="*/ 0 h 4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5" h="4696">
                <a:moveTo>
                  <a:pt x="0" y="0"/>
                </a:moveTo>
                <a:cubicBezTo>
                  <a:pt x="122" y="1586"/>
                  <a:pt x="183" y="3110"/>
                  <a:pt x="305" y="4696"/>
                </a:cubicBezTo>
                <a:cubicBezTo>
                  <a:pt x="183" y="3110"/>
                  <a:pt x="61" y="1586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77" name="Freeform: Shape 1476">
            <a:extLst>
              <a:ext uri="{FF2B5EF4-FFF2-40B4-BE49-F238E27FC236}">
                <a16:creationId xmlns:a16="http://schemas.microsoft.com/office/drawing/2014/main" id="{924DFBF2-D327-7E76-104E-BEC0D6384892}"/>
              </a:ext>
            </a:extLst>
          </p:cNvPr>
          <p:cNvSpPr/>
          <p:nvPr/>
        </p:nvSpPr>
        <p:spPr>
          <a:xfrm>
            <a:off x="7567424" y="3947684"/>
            <a:ext cx="1890" cy="3415"/>
          </a:xfrm>
          <a:custGeom>
            <a:avLst/>
            <a:gdLst>
              <a:gd name="connsiteX0" fmla="*/ 1891 w 1890"/>
              <a:gd name="connsiteY0" fmla="*/ 0 h 3415"/>
              <a:gd name="connsiteX1" fmla="*/ 0 w 1890"/>
              <a:gd name="connsiteY1" fmla="*/ 3415 h 3415"/>
              <a:gd name="connsiteX2" fmla="*/ 1891 w 1890"/>
              <a:gd name="connsiteY2" fmla="*/ 0 h 3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90" h="3415">
                <a:moveTo>
                  <a:pt x="1891" y="0"/>
                </a:moveTo>
                <a:cubicBezTo>
                  <a:pt x="1281" y="1159"/>
                  <a:pt x="610" y="2257"/>
                  <a:pt x="0" y="3415"/>
                </a:cubicBezTo>
                <a:cubicBezTo>
                  <a:pt x="610" y="2257"/>
                  <a:pt x="1281" y="1159"/>
                  <a:pt x="1891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78" name="Freeform: Shape 1477">
            <a:extLst>
              <a:ext uri="{FF2B5EF4-FFF2-40B4-BE49-F238E27FC236}">
                <a16:creationId xmlns:a16="http://schemas.microsoft.com/office/drawing/2014/main" id="{3306D99A-CD88-D708-E88E-572A0C6294C2}"/>
              </a:ext>
            </a:extLst>
          </p:cNvPr>
          <p:cNvSpPr/>
          <p:nvPr/>
        </p:nvSpPr>
        <p:spPr>
          <a:xfrm>
            <a:off x="7581208" y="3924142"/>
            <a:ext cx="2073" cy="3293"/>
          </a:xfrm>
          <a:custGeom>
            <a:avLst/>
            <a:gdLst>
              <a:gd name="connsiteX0" fmla="*/ 2073 w 2073"/>
              <a:gd name="connsiteY0" fmla="*/ 0 h 3293"/>
              <a:gd name="connsiteX1" fmla="*/ 0 w 2073"/>
              <a:gd name="connsiteY1" fmla="*/ 3293 h 3293"/>
              <a:gd name="connsiteX2" fmla="*/ 2073 w 2073"/>
              <a:gd name="connsiteY2" fmla="*/ 0 h 3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73" h="3293">
                <a:moveTo>
                  <a:pt x="2073" y="0"/>
                </a:moveTo>
                <a:cubicBezTo>
                  <a:pt x="1403" y="1098"/>
                  <a:pt x="671" y="2195"/>
                  <a:pt x="0" y="3293"/>
                </a:cubicBezTo>
                <a:cubicBezTo>
                  <a:pt x="671" y="2195"/>
                  <a:pt x="1342" y="1098"/>
                  <a:pt x="2073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79" name="Freeform: Shape 1478">
            <a:extLst>
              <a:ext uri="{FF2B5EF4-FFF2-40B4-BE49-F238E27FC236}">
                <a16:creationId xmlns:a16="http://schemas.microsoft.com/office/drawing/2014/main" id="{60EA93E4-E844-EC6E-F013-9026EE0EE866}"/>
              </a:ext>
            </a:extLst>
          </p:cNvPr>
          <p:cNvSpPr/>
          <p:nvPr/>
        </p:nvSpPr>
        <p:spPr>
          <a:xfrm>
            <a:off x="7497958" y="4156326"/>
            <a:ext cx="488" cy="3354"/>
          </a:xfrm>
          <a:custGeom>
            <a:avLst/>
            <a:gdLst>
              <a:gd name="connsiteX0" fmla="*/ 488 w 488"/>
              <a:gd name="connsiteY0" fmla="*/ 0 h 3354"/>
              <a:gd name="connsiteX1" fmla="*/ 0 w 488"/>
              <a:gd name="connsiteY1" fmla="*/ 3354 h 3354"/>
              <a:gd name="connsiteX2" fmla="*/ 488 w 488"/>
              <a:gd name="connsiteY2" fmla="*/ 0 h 3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8" h="3354">
                <a:moveTo>
                  <a:pt x="488" y="0"/>
                </a:moveTo>
                <a:cubicBezTo>
                  <a:pt x="305" y="1098"/>
                  <a:pt x="122" y="2195"/>
                  <a:pt x="0" y="3354"/>
                </a:cubicBezTo>
                <a:cubicBezTo>
                  <a:pt x="183" y="2257"/>
                  <a:pt x="305" y="1159"/>
                  <a:pt x="488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80" name="Freeform: Shape 1479">
            <a:extLst>
              <a:ext uri="{FF2B5EF4-FFF2-40B4-BE49-F238E27FC236}">
                <a16:creationId xmlns:a16="http://schemas.microsoft.com/office/drawing/2014/main" id="{4740D10F-DED8-DE44-D8B8-8270546225B9}"/>
              </a:ext>
            </a:extLst>
          </p:cNvPr>
          <p:cNvSpPr/>
          <p:nvPr/>
        </p:nvSpPr>
        <p:spPr>
          <a:xfrm>
            <a:off x="7596333" y="3901516"/>
            <a:ext cx="1829" cy="2683"/>
          </a:xfrm>
          <a:custGeom>
            <a:avLst/>
            <a:gdLst>
              <a:gd name="connsiteX0" fmla="*/ 1830 w 1829"/>
              <a:gd name="connsiteY0" fmla="*/ 0 h 2683"/>
              <a:gd name="connsiteX1" fmla="*/ 0 w 1829"/>
              <a:gd name="connsiteY1" fmla="*/ 2683 h 2683"/>
              <a:gd name="connsiteX2" fmla="*/ 1830 w 1829"/>
              <a:gd name="connsiteY2" fmla="*/ 0 h 2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29" h="2683">
                <a:moveTo>
                  <a:pt x="1830" y="0"/>
                </a:moveTo>
                <a:cubicBezTo>
                  <a:pt x="1220" y="915"/>
                  <a:pt x="610" y="1769"/>
                  <a:pt x="0" y="2683"/>
                </a:cubicBezTo>
                <a:cubicBezTo>
                  <a:pt x="610" y="1769"/>
                  <a:pt x="1220" y="915"/>
                  <a:pt x="183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82" name="Freeform: Shape 1481">
            <a:extLst>
              <a:ext uri="{FF2B5EF4-FFF2-40B4-BE49-F238E27FC236}">
                <a16:creationId xmlns:a16="http://schemas.microsoft.com/office/drawing/2014/main" id="{A77ABBDC-DB73-70AD-26FF-26D08806F892}"/>
              </a:ext>
            </a:extLst>
          </p:cNvPr>
          <p:cNvSpPr/>
          <p:nvPr/>
        </p:nvSpPr>
        <p:spPr>
          <a:xfrm>
            <a:off x="7535283" y="4014222"/>
            <a:ext cx="1829" cy="4513"/>
          </a:xfrm>
          <a:custGeom>
            <a:avLst/>
            <a:gdLst>
              <a:gd name="connsiteX0" fmla="*/ 1830 w 1829"/>
              <a:gd name="connsiteY0" fmla="*/ 0 h 4513"/>
              <a:gd name="connsiteX1" fmla="*/ 0 w 1829"/>
              <a:gd name="connsiteY1" fmla="*/ 4513 h 4513"/>
              <a:gd name="connsiteX2" fmla="*/ 1830 w 1829"/>
              <a:gd name="connsiteY2" fmla="*/ 0 h 4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29" h="4513">
                <a:moveTo>
                  <a:pt x="1830" y="0"/>
                </a:moveTo>
                <a:cubicBezTo>
                  <a:pt x="1220" y="1525"/>
                  <a:pt x="610" y="2989"/>
                  <a:pt x="0" y="4513"/>
                </a:cubicBezTo>
                <a:cubicBezTo>
                  <a:pt x="610" y="2989"/>
                  <a:pt x="1220" y="1525"/>
                  <a:pt x="183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83" name="Freeform: Shape 1482">
            <a:extLst>
              <a:ext uri="{FF2B5EF4-FFF2-40B4-BE49-F238E27FC236}">
                <a16:creationId xmlns:a16="http://schemas.microsoft.com/office/drawing/2014/main" id="{ABAA61C6-8A60-D132-F0EF-DC44260C3083}"/>
              </a:ext>
            </a:extLst>
          </p:cNvPr>
          <p:cNvSpPr/>
          <p:nvPr/>
        </p:nvSpPr>
        <p:spPr>
          <a:xfrm>
            <a:off x="7492652" y="4262141"/>
            <a:ext cx="122" cy="3354"/>
          </a:xfrm>
          <a:custGeom>
            <a:avLst/>
            <a:gdLst>
              <a:gd name="connsiteX0" fmla="*/ 0 w 122"/>
              <a:gd name="connsiteY0" fmla="*/ 0 h 3354"/>
              <a:gd name="connsiteX1" fmla="*/ 122 w 122"/>
              <a:gd name="connsiteY1" fmla="*/ 3354 h 3354"/>
              <a:gd name="connsiteX2" fmla="*/ 0 w 122"/>
              <a:gd name="connsiteY2" fmla="*/ 0 h 3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2" h="3354">
                <a:moveTo>
                  <a:pt x="0" y="0"/>
                </a:moveTo>
                <a:cubicBezTo>
                  <a:pt x="0" y="1159"/>
                  <a:pt x="122" y="2257"/>
                  <a:pt x="122" y="3354"/>
                </a:cubicBezTo>
                <a:cubicBezTo>
                  <a:pt x="122" y="2257"/>
                  <a:pt x="0" y="1098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84" name="Freeform: Shape 1483">
            <a:extLst>
              <a:ext uri="{FF2B5EF4-FFF2-40B4-BE49-F238E27FC236}">
                <a16:creationId xmlns:a16="http://schemas.microsoft.com/office/drawing/2014/main" id="{ABF670D1-562D-F21E-4B25-EAD10804C12F}"/>
              </a:ext>
            </a:extLst>
          </p:cNvPr>
          <p:cNvSpPr/>
          <p:nvPr/>
        </p:nvSpPr>
        <p:spPr>
          <a:xfrm>
            <a:off x="7520890" y="4054109"/>
            <a:ext cx="1524" cy="4696"/>
          </a:xfrm>
          <a:custGeom>
            <a:avLst/>
            <a:gdLst>
              <a:gd name="connsiteX0" fmla="*/ 1525 w 1524"/>
              <a:gd name="connsiteY0" fmla="*/ 0 h 4696"/>
              <a:gd name="connsiteX1" fmla="*/ 0 w 1524"/>
              <a:gd name="connsiteY1" fmla="*/ 4696 h 4696"/>
              <a:gd name="connsiteX2" fmla="*/ 1525 w 1524"/>
              <a:gd name="connsiteY2" fmla="*/ 0 h 4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24" h="4696">
                <a:moveTo>
                  <a:pt x="1525" y="0"/>
                </a:moveTo>
                <a:cubicBezTo>
                  <a:pt x="1037" y="1586"/>
                  <a:pt x="488" y="3110"/>
                  <a:pt x="0" y="4696"/>
                </a:cubicBezTo>
                <a:cubicBezTo>
                  <a:pt x="488" y="3110"/>
                  <a:pt x="1037" y="1586"/>
                  <a:pt x="1525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85" name="Freeform: Shape 1484">
            <a:extLst>
              <a:ext uri="{FF2B5EF4-FFF2-40B4-BE49-F238E27FC236}">
                <a16:creationId xmlns:a16="http://schemas.microsoft.com/office/drawing/2014/main" id="{6C584762-3AC0-E8D8-6A58-67E08897BB5B}"/>
              </a:ext>
            </a:extLst>
          </p:cNvPr>
          <p:cNvSpPr/>
          <p:nvPr/>
        </p:nvSpPr>
        <p:spPr>
          <a:xfrm>
            <a:off x="7500886" y="4136139"/>
            <a:ext cx="792" cy="4635"/>
          </a:xfrm>
          <a:custGeom>
            <a:avLst/>
            <a:gdLst>
              <a:gd name="connsiteX0" fmla="*/ 793 w 792"/>
              <a:gd name="connsiteY0" fmla="*/ 0 h 4635"/>
              <a:gd name="connsiteX1" fmla="*/ 0 w 792"/>
              <a:gd name="connsiteY1" fmla="*/ 4635 h 4635"/>
              <a:gd name="connsiteX2" fmla="*/ 793 w 792"/>
              <a:gd name="connsiteY2" fmla="*/ 0 h 4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2" h="4635">
                <a:moveTo>
                  <a:pt x="793" y="0"/>
                </a:moveTo>
                <a:cubicBezTo>
                  <a:pt x="488" y="1525"/>
                  <a:pt x="244" y="3110"/>
                  <a:pt x="0" y="4635"/>
                </a:cubicBezTo>
                <a:cubicBezTo>
                  <a:pt x="244" y="3110"/>
                  <a:pt x="549" y="1525"/>
                  <a:pt x="793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86" name="Freeform: Shape 1485">
            <a:extLst>
              <a:ext uri="{FF2B5EF4-FFF2-40B4-BE49-F238E27FC236}">
                <a16:creationId xmlns:a16="http://schemas.microsoft.com/office/drawing/2014/main" id="{C967596B-4C3D-B772-271D-5101996D31D3}"/>
              </a:ext>
            </a:extLst>
          </p:cNvPr>
          <p:cNvSpPr/>
          <p:nvPr/>
        </p:nvSpPr>
        <p:spPr>
          <a:xfrm>
            <a:off x="7497897" y="4322947"/>
            <a:ext cx="670" cy="4818"/>
          </a:xfrm>
          <a:custGeom>
            <a:avLst/>
            <a:gdLst>
              <a:gd name="connsiteX0" fmla="*/ 0 w 670"/>
              <a:gd name="connsiteY0" fmla="*/ 0 h 4818"/>
              <a:gd name="connsiteX1" fmla="*/ 671 w 670"/>
              <a:gd name="connsiteY1" fmla="*/ 4818 h 4818"/>
              <a:gd name="connsiteX2" fmla="*/ 0 w 670"/>
              <a:gd name="connsiteY2" fmla="*/ 0 h 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70" h="4818">
                <a:moveTo>
                  <a:pt x="0" y="0"/>
                </a:moveTo>
                <a:cubicBezTo>
                  <a:pt x="244" y="1586"/>
                  <a:pt x="427" y="3232"/>
                  <a:pt x="671" y="4818"/>
                </a:cubicBezTo>
                <a:cubicBezTo>
                  <a:pt x="427" y="3232"/>
                  <a:pt x="183" y="1586"/>
                  <a:pt x="0" y="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87" name="Freeform: Shape 1486">
            <a:extLst>
              <a:ext uri="{FF2B5EF4-FFF2-40B4-BE49-F238E27FC236}">
                <a16:creationId xmlns:a16="http://schemas.microsoft.com/office/drawing/2014/main" id="{20AE3A80-5884-7BC5-4530-25793EDF4565}"/>
              </a:ext>
            </a:extLst>
          </p:cNvPr>
          <p:cNvSpPr/>
          <p:nvPr/>
        </p:nvSpPr>
        <p:spPr>
          <a:xfrm>
            <a:off x="7492348" y="4239331"/>
            <a:ext cx="6098" cy="4452"/>
          </a:xfrm>
          <a:custGeom>
            <a:avLst/>
            <a:gdLst>
              <a:gd name="connsiteX0" fmla="*/ 0 w 6098"/>
              <a:gd name="connsiteY0" fmla="*/ 4452 h 4452"/>
              <a:gd name="connsiteX1" fmla="*/ 0 w 6098"/>
              <a:gd name="connsiteY1" fmla="*/ 0 h 4452"/>
              <a:gd name="connsiteX2" fmla="*/ 0 w 6098"/>
              <a:gd name="connsiteY2" fmla="*/ 4452 h 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98" h="4452">
                <a:moveTo>
                  <a:pt x="0" y="4452"/>
                </a:moveTo>
                <a:cubicBezTo>
                  <a:pt x="0" y="2988"/>
                  <a:pt x="0" y="1525"/>
                  <a:pt x="0" y="0"/>
                </a:cubicBezTo>
                <a:cubicBezTo>
                  <a:pt x="0" y="1464"/>
                  <a:pt x="0" y="2928"/>
                  <a:pt x="0" y="4452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88" name="Freeform: Shape 1487">
            <a:extLst>
              <a:ext uri="{FF2B5EF4-FFF2-40B4-BE49-F238E27FC236}">
                <a16:creationId xmlns:a16="http://schemas.microsoft.com/office/drawing/2014/main" id="{63D75832-3D0D-6D25-7729-2840ACDA918B}"/>
              </a:ext>
            </a:extLst>
          </p:cNvPr>
          <p:cNvSpPr/>
          <p:nvPr/>
        </p:nvSpPr>
        <p:spPr>
          <a:xfrm>
            <a:off x="7543517" y="3996658"/>
            <a:ext cx="1098" cy="2500"/>
          </a:xfrm>
          <a:custGeom>
            <a:avLst/>
            <a:gdLst>
              <a:gd name="connsiteX0" fmla="*/ 0 w 1098"/>
              <a:gd name="connsiteY0" fmla="*/ 2501 h 2500"/>
              <a:gd name="connsiteX1" fmla="*/ 1098 w 1098"/>
              <a:gd name="connsiteY1" fmla="*/ 0 h 2500"/>
              <a:gd name="connsiteX2" fmla="*/ 854 w 1098"/>
              <a:gd name="connsiteY2" fmla="*/ 488 h 2500"/>
              <a:gd name="connsiteX3" fmla="*/ 0 w 1098"/>
              <a:gd name="connsiteY3" fmla="*/ 2440 h 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8" h="2500">
                <a:moveTo>
                  <a:pt x="0" y="2501"/>
                </a:moveTo>
                <a:cubicBezTo>
                  <a:pt x="366" y="1647"/>
                  <a:pt x="732" y="854"/>
                  <a:pt x="1098" y="0"/>
                </a:cubicBezTo>
                <a:cubicBezTo>
                  <a:pt x="1037" y="183"/>
                  <a:pt x="915" y="366"/>
                  <a:pt x="854" y="488"/>
                </a:cubicBezTo>
                <a:cubicBezTo>
                  <a:pt x="549" y="1159"/>
                  <a:pt x="305" y="1830"/>
                  <a:pt x="0" y="2440"/>
                </a:cubicBezTo>
                <a:close/>
              </a:path>
            </a:pathLst>
          </a:custGeom>
          <a:solidFill>
            <a:srgbClr val="00B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89" name="Freeform: Shape 1488">
            <a:extLst>
              <a:ext uri="{FF2B5EF4-FFF2-40B4-BE49-F238E27FC236}">
                <a16:creationId xmlns:a16="http://schemas.microsoft.com/office/drawing/2014/main" id="{925C4F94-2CBA-03C0-9980-6D071C41EB1F}"/>
              </a:ext>
            </a:extLst>
          </p:cNvPr>
          <p:cNvSpPr/>
          <p:nvPr/>
        </p:nvSpPr>
        <p:spPr>
          <a:xfrm>
            <a:off x="4299597" y="2670290"/>
            <a:ext cx="2016882" cy="1040831"/>
          </a:xfrm>
          <a:custGeom>
            <a:avLst/>
            <a:gdLst>
              <a:gd name="connsiteX0" fmla="*/ 1619246 w 1994325"/>
              <a:gd name="connsiteY0" fmla="*/ 939899 h 1022233"/>
              <a:gd name="connsiteX1" fmla="*/ 1994326 w 1994325"/>
              <a:gd name="connsiteY1" fmla="*/ 939899 h 1022233"/>
              <a:gd name="connsiteX2" fmla="*/ 1994326 w 1994325"/>
              <a:gd name="connsiteY2" fmla="*/ 366607 h 1022233"/>
              <a:gd name="connsiteX3" fmla="*/ 1576554 w 1994325"/>
              <a:gd name="connsiteY3" fmla="*/ 366607 h 1022233"/>
              <a:gd name="connsiteX4" fmla="*/ 1478973 w 1994325"/>
              <a:gd name="connsiteY4" fmla="*/ 269025 h 1022233"/>
              <a:gd name="connsiteX5" fmla="*/ 1478973 w 1994325"/>
              <a:gd name="connsiteY5" fmla="*/ 67763 h 1022233"/>
              <a:gd name="connsiteX6" fmla="*/ 1363094 w 1994325"/>
              <a:gd name="connsiteY6" fmla="*/ 675 h 1022233"/>
              <a:gd name="connsiteX7" fmla="*/ 143323 w 1994325"/>
              <a:gd name="connsiteY7" fmla="*/ 675 h 1022233"/>
              <a:gd name="connsiteX8" fmla="*/ 3049 w 1994325"/>
              <a:gd name="connsiteY8" fmla="*/ 140949 h 1022233"/>
              <a:gd name="connsiteX9" fmla="*/ 3049 w 1994325"/>
              <a:gd name="connsiteY9" fmla="*/ 269025 h 1022233"/>
              <a:gd name="connsiteX10" fmla="*/ 0 w 1994325"/>
              <a:gd name="connsiteY10" fmla="*/ 273721 h 1022233"/>
              <a:gd name="connsiteX11" fmla="*/ 0 w 1994325"/>
              <a:gd name="connsiteY11" fmla="*/ 413202 h 1022233"/>
              <a:gd name="connsiteX12" fmla="*/ 85628 w 1994325"/>
              <a:gd name="connsiteY12" fmla="*/ 539387 h 1022233"/>
              <a:gd name="connsiteX13" fmla="*/ 85628 w 1994325"/>
              <a:gd name="connsiteY13" fmla="*/ 778280 h 1022233"/>
              <a:gd name="connsiteX14" fmla="*/ 292745 w 1994325"/>
              <a:gd name="connsiteY14" fmla="*/ 778280 h 1022233"/>
              <a:gd name="connsiteX15" fmla="*/ 475711 w 1994325"/>
              <a:gd name="connsiteY15" fmla="*/ 906356 h 1022233"/>
              <a:gd name="connsiteX16" fmla="*/ 568840 w 1994325"/>
              <a:gd name="connsiteY16" fmla="*/ 1022234 h 1022233"/>
              <a:gd name="connsiteX17" fmla="*/ 1433414 w 1994325"/>
              <a:gd name="connsiteY17" fmla="*/ 1022234 h 1022233"/>
              <a:gd name="connsiteX18" fmla="*/ 1619246 w 1994325"/>
              <a:gd name="connsiteY18" fmla="*/ 939899 h 1022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994325" h="1022233">
                <a:moveTo>
                  <a:pt x="1619246" y="939899"/>
                </a:moveTo>
                <a:lnTo>
                  <a:pt x="1994326" y="939899"/>
                </a:lnTo>
                <a:lnTo>
                  <a:pt x="1994326" y="366607"/>
                </a:lnTo>
                <a:lnTo>
                  <a:pt x="1576554" y="366607"/>
                </a:lnTo>
                <a:cubicBezTo>
                  <a:pt x="1472874" y="366607"/>
                  <a:pt x="1478973" y="269025"/>
                  <a:pt x="1478973" y="269025"/>
                </a:cubicBezTo>
                <a:lnTo>
                  <a:pt x="1478973" y="67763"/>
                </a:lnTo>
                <a:cubicBezTo>
                  <a:pt x="1478973" y="-11522"/>
                  <a:pt x="1363094" y="675"/>
                  <a:pt x="1363094" y="675"/>
                </a:cubicBezTo>
                <a:lnTo>
                  <a:pt x="143323" y="675"/>
                </a:lnTo>
                <a:cubicBezTo>
                  <a:pt x="-15247" y="675"/>
                  <a:pt x="3049" y="140949"/>
                  <a:pt x="3049" y="140949"/>
                </a:cubicBezTo>
                <a:lnTo>
                  <a:pt x="3049" y="269025"/>
                </a:lnTo>
                <a:lnTo>
                  <a:pt x="0" y="273721"/>
                </a:lnTo>
                <a:lnTo>
                  <a:pt x="0" y="413202"/>
                </a:lnTo>
                <a:cubicBezTo>
                  <a:pt x="99838" y="436987"/>
                  <a:pt x="85628" y="539387"/>
                  <a:pt x="85628" y="539387"/>
                </a:cubicBezTo>
                <a:lnTo>
                  <a:pt x="85628" y="778280"/>
                </a:lnTo>
                <a:lnTo>
                  <a:pt x="292745" y="778280"/>
                </a:lnTo>
                <a:cubicBezTo>
                  <a:pt x="292745" y="778280"/>
                  <a:pt x="469612" y="778280"/>
                  <a:pt x="475711" y="906356"/>
                </a:cubicBezTo>
                <a:cubicBezTo>
                  <a:pt x="479858" y="992959"/>
                  <a:pt x="534138" y="1016196"/>
                  <a:pt x="568840" y="1022234"/>
                </a:cubicBezTo>
                <a:lnTo>
                  <a:pt x="1433414" y="1022234"/>
                </a:lnTo>
                <a:cubicBezTo>
                  <a:pt x="1463482" y="974541"/>
                  <a:pt x="1518920" y="937643"/>
                  <a:pt x="1619246" y="939899"/>
                </a:cubicBezTo>
                <a:close/>
              </a:path>
            </a:pathLst>
          </a:custGeom>
          <a:solidFill>
            <a:schemeClr val="accent1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90" name="Freeform: Shape 1489">
            <a:extLst>
              <a:ext uri="{FF2B5EF4-FFF2-40B4-BE49-F238E27FC236}">
                <a16:creationId xmlns:a16="http://schemas.microsoft.com/office/drawing/2014/main" id="{EB0F4485-C2C2-4990-6E4E-F439D52522AD}"/>
              </a:ext>
            </a:extLst>
          </p:cNvPr>
          <p:cNvSpPr/>
          <p:nvPr/>
        </p:nvSpPr>
        <p:spPr>
          <a:xfrm>
            <a:off x="3563038" y="3076889"/>
            <a:ext cx="5611" cy="8355"/>
          </a:xfrm>
          <a:custGeom>
            <a:avLst/>
            <a:gdLst>
              <a:gd name="connsiteX0" fmla="*/ 5611 w 5611"/>
              <a:gd name="connsiteY0" fmla="*/ 1342 h 8355"/>
              <a:gd name="connsiteX1" fmla="*/ 4818 w 5611"/>
              <a:gd name="connsiteY1" fmla="*/ 0 h 8355"/>
              <a:gd name="connsiteX2" fmla="*/ 0 w 5611"/>
              <a:gd name="connsiteY2" fmla="*/ 8355 h 8355"/>
              <a:gd name="connsiteX3" fmla="*/ 1769 w 5611"/>
              <a:gd name="connsiteY3" fmla="*/ 8355 h 8355"/>
              <a:gd name="connsiteX4" fmla="*/ 5611 w 5611"/>
              <a:gd name="connsiteY4" fmla="*/ 1342 h 8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1" h="8355">
                <a:moveTo>
                  <a:pt x="5611" y="1342"/>
                </a:moveTo>
                <a:cubicBezTo>
                  <a:pt x="5367" y="915"/>
                  <a:pt x="5062" y="488"/>
                  <a:pt x="4818" y="0"/>
                </a:cubicBezTo>
                <a:cubicBezTo>
                  <a:pt x="3354" y="2866"/>
                  <a:pt x="1708" y="5611"/>
                  <a:pt x="0" y="8355"/>
                </a:cubicBezTo>
                <a:lnTo>
                  <a:pt x="1769" y="8355"/>
                </a:lnTo>
                <a:cubicBezTo>
                  <a:pt x="3110" y="6038"/>
                  <a:pt x="4391" y="3720"/>
                  <a:pt x="5611" y="1342"/>
                </a:cubicBezTo>
                <a:close/>
              </a:path>
            </a:pathLst>
          </a:custGeom>
          <a:solidFill>
            <a:srgbClr val="0005C3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91" name="Freeform: Shape 1490">
            <a:extLst>
              <a:ext uri="{FF2B5EF4-FFF2-40B4-BE49-F238E27FC236}">
                <a16:creationId xmlns:a16="http://schemas.microsoft.com/office/drawing/2014/main" id="{EA576FEA-26B4-0052-D0BB-A0C8E90DD7CB}"/>
              </a:ext>
            </a:extLst>
          </p:cNvPr>
          <p:cNvSpPr/>
          <p:nvPr/>
        </p:nvSpPr>
        <p:spPr>
          <a:xfrm>
            <a:off x="3567795" y="3020597"/>
            <a:ext cx="14271" cy="57695"/>
          </a:xfrm>
          <a:custGeom>
            <a:avLst/>
            <a:gdLst>
              <a:gd name="connsiteX0" fmla="*/ 14271 w 14271"/>
              <a:gd name="connsiteY0" fmla="*/ 1403 h 57695"/>
              <a:gd name="connsiteX1" fmla="*/ 14210 w 14271"/>
              <a:gd name="connsiteY1" fmla="*/ 0 h 57695"/>
              <a:gd name="connsiteX2" fmla="*/ 0 w 14271"/>
              <a:gd name="connsiteY2" fmla="*/ 56353 h 57695"/>
              <a:gd name="connsiteX3" fmla="*/ 793 w 14271"/>
              <a:gd name="connsiteY3" fmla="*/ 57695 h 57695"/>
              <a:gd name="connsiteX4" fmla="*/ 14210 w 14271"/>
              <a:gd name="connsiteY4" fmla="*/ 1464 h 57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71" h="57695">
                <a:moveTo>
                  <a:pt x="14271" y="1403"/>
                </a:moveTo>
                <a:cubicBezTo>
                  <a:pt x="14271" y="915"/>
                  <a:pt x="14210" y="427"/>
                  <a:pt x="14210" y="0"/>
                </a:cubicBezTo>
                <a:cubicBezTo>
                  <a:pt x="13966" y="20309"/>
                  <a:pt x="8843" y="39460"/>
                  <a:pt x="0" y="56353"/>
                </a:cubicBezTo>
                <a:cubicBezTo>
                  <a:pt x="244" y="56780"/>
                  <a:pt x="549" y="57207"/>
                  <a:pt x="793" y="57695"/>
                </a:cubicBezTo>
                <a:cubicBezTo>
                  <a:pt x="9331" y="40801"/>
                  <a:pt x="14210" y="21712"/>
                  <a:pt x="14210" y="1464"/>
                </a:cubicBezTo>
                <a:close/>
              </a:path>
            </a:pathLst>
          </a:custGeom>
          <a:solidFill>
            <a:srgbClr val="0005C3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92" name="Freeform: Shape 1491">
            <a:extLst>
              <a:ext uri="{FF2B5EF4-FFF2-40B4-BE49-F238E27FC236}">
                <a16:creationId xmlns:a16="http://schemas.microsoft.com/office/drawing/2014/main" id="{2CB0BF7B-6BAF-1936-8C4B-F3F326D62C74}"/>
              </a:ext>
            </a:extLst>
          </p:cNvPr>
          <p:cNvSpPr/>
          <p:nvPr/>
        </p:nvSpPr>
        <p:spPr>
          <a:xfrm>
            <a:off x="2838006" y="1656100"/>
            <a:ext cx="1887595" cy="1434085"/>
          </a:xfrm>
          <a:custGeom>
            <a:avLst/>
            <a:gdLst>
              <a:gd name="connsiteX0" fmla="*/ 619034 w 1887595"/>
              <a:gd name="connsiteY0" fmla="*/ 0 h 1434085"/>
              <a:gd name="connsiteX1" fmla="*/ 0 w 1887595"/>
              <a:gd name="connsiteY1" fmla="*/ 619034 h 1434085"/>
              <a:gd name="connsiteX2" fmla="*/ 0 w 1887595"/>
              <a:gd name="connsiteY2" fmla="*/ 620559 h 1434085"/>
              <a:gd name="connsiteX3" fmla="*/ 366 w 1887595"/>
              <a:gd name="connsiteY3" fmla="*/ 639465 h 1434085"/>
              <a:gd name="connsiteX4" fmla="*/ 619034 w 1887595"/>
              <a:gd name="connsiteY4" fmla="*/ 1238068 h 1434085"/>
              <a:gd name="connsiteX5" fmla="*/ 622083 w 1887595"/>
              <a:gd name="connsiteY5" fmla="*/ 1237580 h 1434085"/>
              <a:gd name="connsiteX6" fmla="*/ 744060 w 1887595"/>
              <a:gd name="connsiteY6" fmla="*/ 1362851 h 1434085"/>
              <a:gd name="connsiteX7" fmla="*/ 744000 w 1887595"/>
              <a:gd name="connsiteY7" fmla="*/ 1364497 h 1434085"/>
              <a:gd name="connsiteX8" fmla="*/ 744060 w 1887595"/>
              <a:gd name="connsiteY8" fmla="*/ 1365900 h 1434085"/>
              <a:gd name="connsiteX9" fmla="*/ 730643 w 1887595"/>
              <a:gd name="connsiteY9" fmla="*/ 1422131 h 1434085"/>
              <a:gd name="connsiteX10" fmla="*/ 726801 w 1887595"/>
              <a:gd name="connsiteY10" fmla="*/ 1429145 h 1434085"/>
              <a:gd name="connsiteX11" fmla="*/ 1427376 w 1887595"/>
              <a:gd name="connsiteY11" fmla="*/ 1429145 h 1434085"/>
              <a:gd name="connsiteX12" fmla="*/ 1442379 w 1887595"/>
              <a:gd name="connsiteY12" fmla="*/ 1429633 h 1434085"/>
              <a:gd name="connsiteX13" fmla="*/ 1472874 w 1887595"/>
              <a:gd name="connsiteY13" fmla="*/ 1434085 h 1434085"/>
              <a:gd name="connsiteX14" fmla="*/ 1472874 w 1887595"/>
              <a:gd name="connsiteY14" fmla="*/ 609886 h 1434085"/>
              <a:gd name="connsiteX15" fmla="*/ 1668037 w 1887595"/>
              <a:gd name="connsiteY15" fmla="*/ 359833 h 1434085"/>
              <a:gd name="connsiteX16" fmla="*/ 1887596 w 1887595"/>
              <a:gd name="connsiteY16" fmla="*/ 152471 h 1434085"/>
              <a:gd name="connsiteX17" fmla="*/ 1887596 w 1887595"/>
              <a:gd name="connsiteY17" fmla="*/ 0 h 1434085"/>
              <a:gd name="connsiteX18" fmla="*/ 619034 w 1887595"/>
              <a:gd name="connsiteY18" fmla="*/ 0 h 1434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887595" h="1434085">
                <a:moveTo>
                  <a:pt x="619034" y="0"/>
                </a:moveTo>
                <a:cubicBezTo>
                  <a:pt x="277132" y="0"/>
                  <a:pt x="0" y="277132"/>
                  <a:pt x="0" y="619034"/>
                </a:cubicBezTo>
                <a:cubicBezTo>
                  <a:pt x="0" y="619522"/>
                  <a:pt x="0" y="620071"/>
                  <a:pt x="0" y="620559"/>
                </a:cubicBezTo>
                <a:cubicBezTo>
                  <a:pt x="0" y="626902"/>
                  <a:pt x="122" y="633183"/>
                  <a:pt x="366" y="639465"/>
                </a:cubicBezTo>
                <a:cubicBezTo>
                  <a:pt x="11161" y="971914"/>
                  <a:pt x="283963" y="1238068"/>
                  <a:pt x="619034" y="1238068"/>
                </a:cubicBezTo>
                <a:lnTo>
                  <a:pt x="622083" y="1237580"/>
                </a:lnTo>
                <a:cubicBezTo>
                  <a:pt x="691244" y="1237580"/>
                  <a:pt x="744060" y="1293690"/>
                  <a:pt x="744060" y="1362851"/>
                </a:cubicBezTo>
                <a:cubicBezTo>
                  <a:pt x="744060" y="1363399"/>
                  <a:pt x="744000" y="1363948"/>
                  <a:pt x="744000" y="1364497"/>
                </a:cubicBezTo>
                <a:cubicBezTo>
                  <a:pt x="744000" y="1364985"/>
                  <a:pt x="744060" y="1365473"/>
                  <a:pt x="744060" y="1365900"/>
                </a:cubicBezTo>
                <a:cubicBezTo>
                  <a:pt x="744060" y="1386148"/>
                  <a:pt x="739120" y="1405177"/>
                  <a:pt x="730643" y="1422131"/>
                </a:cubicBezTo>
                <a:cubicBezTo>
                  <a:pt x="729423" y="1424510"/>
                  <a:pt x="728143" y="1426889"/>
                  <a:pt x="726801" y="1429145"/>
                </a:cubicBezTo>
                <a:lnTo>
                  <a:pt x="1427376" y="1429145"/>
                </a:lnTo>
                <a:cubicBezTo>
                  <a:pt x="1432560" y="1429145"/>
                  <a:pt x="1437561" y="1429328"/>
                  <a:pt x="1442379" y="1429633"/>
                </a:cubicBezTo>
                <a:cubicBezTo>
                  <a:pt x="1453601" y="1430365"/>
                  <a:pt x="1463665" y="1431890"/>
                  <a:pt x="1472874" y="1434085"/>
                </a:cubicBezTo>
                <a:lnTo>
                  <a:pt x="1472874" y="609886"/>
                </a:lnTo>
                <a:cubicBezTo>
                  <a:pt x="1472874" y="609886"/>
                  <a:pt x="1454577" y="353734"/>
                  <a:pt x="1668037" y="359833"/>
                </a:cubicBezTo>
                <a:cubicBezTo>
                  <a:pt x="1881497" y="365931"/>
                  <a:pt x="1887596" y="292745"/>
                  <a:pt x="1887596" y="152471"/>
                </a:cubicBezTo>
                <a:lnTo>
                  <a:pt x="1887596" y="0"/>
                </a:lnTo>
                <a:cubicBezTo>
                  <a:pt x="1887596" y="0"/>
                  <a:pt x="619034" y="0"/>
                  <a:pt x="619034" y="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93" name="Freeform: Shape 1492">
            <a:extLst>
              <a:ext uri="{FF2B5EF4-FFF2-40B4-BE49-F238E27FC236}">
                <a16:creationId xmlns:a16="http://schemas.microsoft.com/office/drawing/2014/main" id="{EF749D7D-FE49-5B64-4941-B11437D07DE5}"/>
              </a:ext>
            </a:extLst>
          </p:cNvPr>
          <p:cNvSpPr/>
          <p:nvPr/>
        </p:nvSpPr>
        <p:spPr>
          <a:xfrm>
            <a:off x="1784550" y="3430806"/>
            <a:ext cx="142591" cy="232244"/>
          </a:xfrm>
          <a:custGeom>
            <a:avLst/>
            <a:gdLst>
              <a:gd name="connsiteX0" fmla="*/ 142591 w 142591"/>
              <a:gd name="connsiteY0" fmla="*/ 232184 h 232244"/>
              <a:gd name="connsiteX1" fmla="*/ 244 w 142591"/>
              <a:gd name="connsiteY1" fmla="*/ 1647 h 232244"/>
              <a:gd name="connsiteX2" fmla="*/ 0 w 142591"/>
              <a:gd name="connsiteY2" fmla="*/ 0 h 232244"/>
              <a:gd name="connsiteX3" fmla="*/ 0 w 142591"/>
              <a:gd name="connsiteY3" fmla="*/ 46229 h 232244"/>
              <a:gd name="connsiteX4" fmla="*/ 142591 w 142591"/>
              <a:gd name="connsiteY4" fmla="*/ 232245 h 232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591" h="232244">
                <a:moveTo>
                  <a:pt x="142591" y="232184"/>
                </a:moveTo>
                <a:cubicBezTo>
                  <a:pt x="60257" y="187296"/>
                  <a:pt x="3659" y="101180"/>
                  <a:pt x="244" y="1647"/>
                </a:cubicBezTo>
                <a:cubicBezTo>
                  <a:pt x="183" y="1098"/>
                  <a:pt x="61" y="549"/>
                  <a:pt x="0" y="0"/>
                </a:cubicBezTo>
                <a:lnTo>
                  <a:pt x="0" y="46229"/>
                </a:lnTo>
                <a:cubicBezTo>
                  <a:pt x="17138" y="126795"/>
                  <a:pt x="70869" y="194493"/>
                  <a:pt x="142591" y="232245"/>
                </a:cubicBezTo>
                <a:close/>
              </a:path>
            </a:pathLst>
          </a:custGeom>
          <a:solidFill>
            <a:srgbClr val="BD6A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94" name="Freeform: Shape 1493">
            <a:extLst>
              <a:ext uri="{FF2B5EF4-FFF2-40B4-BE49-F238E27FC236}">
                <a16:creationId xmlns:a16="http://schemas.microsoft.com/office/drawing/2014/main" id="{A55E465D-5AC2-7A62-3DD8-B909BE52C7E7}"/>
              </a:ext>
            </a:extLst>
          </p:cNvPr>
          <p:cNvSpPr/>
          <p:nvPr/>
        </p:nvSpPr>
        <p:spPr>
          <a:xfrm>
            <a:off x="2805316" y="3702998"/>
            <a:ext cx="8721" cy="1402"/>
          </a:xfrm>
          <a:custGeom>
            <a:avLst/>
            <a:gdLst>
              <a:gd name="connsiteX0" fmla="*/ 8721 w 8721"/>
              <a:gd name="connsiteY0" fmla="*/ 1403 h 1402"/>
              <a:gd name="connsiteX1" fmla="*/ 0 w 8721"/>
              <a:gd name="connsiteY1" fmla="*/ 0 h 1402"/>
              <a:gd name="connsiteX2" fmla="*/ 8721 w 8721"/>
              <a:gd name="connsiteY2" fmla="*/ 1403 h 1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721" h="1402">
                <a:moveTo>
                  <a:pt x="8721" y="1403"/>
                </a:moveTo>
                <a:cubicBezTo>
                  <a:pt x="5794" y="915"/>
                  <a:pt x="2927" y="427"/>
                  <a:pt x="0" y="0"/>
                </a:cubicBezTo>
                <a:cubicBezTo>
                  <a:pt x="2927" y="488"/>
                  <a:pt x="5855" y="915"/>
                  <a:pt x="8721" y="1403"/>
                </a:cubicBezTo>
                <a:close/>
              </a:path>
            </a:pathLst>
          </a:custGeom>
          <a:solidFill>
            <a:srgbClr val="BD6A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95" name="Freeform: Shape 1494">
            <a:extLst>
              <a:ext uri="{FF2B5EF4-FFF2-40B4-BE49-F238E27FC236}">
                <a16:creationId xmlns:a16="http://schemas.microsoft.com/office/drawing/2014/main" id="{9ED7DFA2-0E6A-EF3E-91EF-ED834D084384}"/>
              </a:ext>
            </a:extLst>
          </p:cNvPr>
          <p:cNvSpPr/>
          <p:nvPr/>
        </p:nvSpPr>
        <p:spPr>
          <a:xfrm>
            <a:off x="3555597" y="3085245"/>
            <a:ext cx="9209" cy="10733"/>
          </a:xfrm>
          <a:custGeom>
            <a:avLst/>
            <a:gdLst>
              <a:gd name="connsiteX0" fmla="*/ 0 w 9209"/>
              <a:gd name="connsiteY0" fmla="*/ 10734 h 10733"/>
              <a:gd name="connsiteX1" fmla="*/ 2135 w 9209"/>
              <a:gd name="connsiteY1" fmla="*/ 10734 h 10733"/>
              <a:gd name="connsiteX2" fmla="*/ 9209 w 9209"/>
              <a:gd name="connsiteY2" fmla="*/ 0 h 10733"/>
              <a:gd name="connsiteX3" fmla="*/ 7441 w 9209"/>
              <a:gd name="connsiteY3" fmla="*/ 0 h 10733"/>
              <a:gd name="connsiteX4" fmla="*/ 305 w 9209"/>
              <a:gd name="connsiteY4" fmla="*/ 10368 h 10733"/>
              <a:gd name="connsiteX5" fmla="*/ 61 w 9209"/>
              <a:gd name="connsiteY5" fmla="*/ 10673 h 10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09" h="10733">
                <a:moveTo>
                  <a:pt x="0" y="10734"/>
                </a:moveTo>
                <a:lnTo>
                  <a:pt x="2135" y="10734"/>
                </a:lnTo>
                <a:cubicBezTo>
                  <a:pt x="4635" y="7319"/>
                  <a:pt x="7014" y="3720"/>
                  <a:pt x="9209" y="0"/>
                </a:cubicBezTo>
                <a:lnTo>
                  <a:pt x="7441" y="0"/>
                </a:lnTo>
                <a:cubicBezTo>
                  <a:pt x="5184" y="3537"/>
                  <a:pt x="2866" y="7075"/>
                  <a:pt x="305" y="10368"/>
                </a:cubicBezTo>
                <a:lnTo>
                  <a:pt x="61" y="10673"/>
                </a:lnTo>
                <a:close/>
              </a:path>
            </a:pathLst>
          </a:custGeom>
          <a:solidFill>
            <a:srgbClr val="BD6A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96" name="Freeform: Shape 1495">
            <a:extLst>
              <a:ext uri="{FF2B5EF4-FFF2-40B4-BE49-F238E27FC236}">
                <a16:creationId xmlns:a16="http://schemas.microsoft.com/office/drawing/2014/main" id="{DEDD6BB6-746A-0991-C5D2-79877F4143CB}"/>
              </a:ext>
            </a:extLst>
          </p:cNvPr>
          <p:cNvSpPr/>
          <p:nvPr/>
        </p:nvSpPr>
        <p:spPr>
          <a:xfrm>
            <a:off x="1778737" y="3085245"/>
            <a:ext cx="2618406" cy="1125056"/>
          </a:xfrm>
          <a:custGeom>
            <a:avLst/>
            <a:gdLst>
              <a:gd name="connsiteX0" fmla="*/ 2532142 w 2618406"/>
              <a:gd name="connsiteY0" fmla="*/ 4940 h 1125056"/>
              <a:gd name="connsiteX1" fmla="*/ 2501648 w 2618406"/>
              <a:gd name="connsiteY1" fmla="*/ 488 h 1125056"/>
              <a:gd name="connsiteX2" fmla="*/ 2486645 w 2618406"/>
              <a:gd name="connsiteY2" fmla="*/ 0 h 1125056"/>
              <a:gd name="connsiteX3" fmla="*/ 1786069 w 2618406"/>
              <a:gd name="connsiteY3" fmla="*/ 0 h 1125056"/>
              <a:gd name="connsiteX4" fmla="*/ 1778995 w 2618406"/>
              <a:gd name="connsiteY4" fmla="*/ 10734 h 1125056"/>
              <a:gd name="connsiteX5" fmla="*/ 1776860 w 2618406"/>
              <a:gd name="connsiteY5" fmla="*/ 10734 h 1125056"/>
              <a:gd name="connsiteX6" fmla="*/ 1777104 w 2618406"/>
              <a:gd name="connsiteY6" fmla="*/ 10429 h 1125056"/>
              <a:gd name="connsiteX7" fmla="*/ 1784240 w 2618406"/>
              <a:gd name="connsiteY7" fmla="*/ 61 h 1125056"/>
              <a:gd name="connsiteX8" fmla="*/ 1781922 w 2618406"/>
              <a:gd name="connsiteY8" fmla="*/ 61 h 1125056"/>
              <a:gd name="connsiteX9" fmla="*/ 1769724 w 2618406"/>
              <a:gd name="connsiteY9" fmla="*/ 16345 h 1125056"/>
              <a:gd name="connsiteX10" fmla="*/ 1733131 w 2618406"/>
              <a:gd name="connsiteY10" fmla="*/ 46839 h 1125056"/>
              <a:gd name="connsiteX11" fmla="*/ 1690439 w 2618406"/>
              <a:gd name="connsiteY11" fmla="*/ 59037 h 1125056"/>
              <a:gd name="connsiteX12" fmla="*/ 1672143 w 2618406"/>
              <a:gd name="connsiteY12" fmla="*/ 61172 h 1125056"/>
              <a:gd name="connsiteX13" fmla="*/ 1635793 w 2618406"/>
              <a:gd name="connsiteY13" fmla="*/ 61050 h 1125056"/>
              <a:gd name="connsiteX14" fmla="*/ 273187 w 2618406"/>
              <a:gd name="connsiteY14" fmla="*/ 61050 h 1125056"/>
              <a:gd name="connsiteX15" fmla="*/ 19 w 2618406"/>
              <a:gd name="connsiteY15" fmla="*/ 333669 h 1125056"/>
              <a:gd name="connsiteX16" fmla="*/ 5813 w 2618406"/>
              <a:gd name="connsiteY16" fmla="*/ 391730 h 1125056"/>
              <a:gd name="connsiteX17" fmla="*/ 5813 w 2618406"/>
              <a:gd name="connsiteY17" fmla="*/ 345500 h 1125056"/>
              <a:gd name="connsiteX18" fmla="*/ 6057 w 2618406"/>
              <a:gd name="connsiteY18" fmla="*/ 347147 h 1125056"/>
              <a:gd name="connsiteX19" fmla="*/ 148404 w 2618406"/>
              <a:gd name="connsiteY19" fmla="*/ 577684 h 1125056"/>
              <a:gd name="connsiteX20" fmla="*/ 277944 w 2618406"/>
              <a:gd name="connsiteY20" fmla="*/ 609825 h 1125056"/>
              <a:gd name="connsiteX21" fmla="*/ 928387 w 2618406"/>
              <a:gd name="connsiteY21" fmla="*/ 609825 h 1125056"/>
              <a:gd name="connsiteX22" fmla="*/ 1026518 w 2618406"/>
              <a:gd name="connsiteY22" fmla="*/ 617692 h 1125056"/>
              <a:gd name="connsiteX23" fmla="*/ 1035239 w 2618406"/>
              <a:gd name="connsiteY23" fmla="*/ 619095 h 1125056"/>
              <a:gd name="connsiteX24" fmla="*/ 1041338 w 2618406"/>
              <a:gd name="connsiteY24" fmla="*/ 620132 h 1125056"/>
              <a:gd name="connsiteX25" fmla="*/ 1538761 w 2618406"/>
              <a:gd name="connsiteY25" fmla="*/ 1124995 h 1125056"/>
              <a:gd name="connsiteX26" fmla="*/ 1544372 w 2618406"/>
              <a:gd name="connsiteY26" fmla="*/ 1124995 h 1125056"/>
              <a:gd name="connsiteX27" fmla="*/ 1545286 w 2618406"/>
              <a:gd name="connsiteY27" fmla="*/ 1125056 h 1125056"/>
              <a:gd name="connsiteX28" fmla="*/ 1544677 w 2618406"/>
              <a:gd name="connsiteY28" fmla="*/ 1120116 h 1125056"/>
              <a:gd name="connsiteX29" fmla="*/ 1547665 w 2618406"/>
              <a:gd name="connsiteY29" fmla="*/ 1121214 h 1125056"/>
              <a:gd name="connsiteX30" fmla="*/ 2282028 w 2618406"/>
              <a:gd name="connsiteY30" fmla="*/ 1121214 h 1125056"/>
              <a:gd name="connsiteX31" fmla="*/ 2282028 w 2618406"/>
              <a:gd name="connsiteY31" fmla="*/ 498033 h 1125056"/>
              <a:gd name="connsiteX32" fmla="*/ 2416203 w 2618406"/>
              <a:gd name="connsiteY32" fmla="*/ 369957 h 1125056"/>
              <a:gd name="connsiteX33" fmla="*/ 2617709 w 2618406"/>
              <a:gd name="connsiteY33" fmla="*/ 369957 h 1125056"/>
              <a:gd name="connsiteX34" fmla="*/ 2617709 w 2618406"/>
              <a:gd name="connsiteY34" fmla="*/ 131064 h 1125056"/>
              <a:gd name="connsiteX35" fmla="*/ 2532081 w 2618406"/>
              <a:gd name="connsiteY35" fmla="*/ 4879 h 1125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2618406" h="1125056">
                <a:moveTo>
                  <a:pt x="2532142" y="4940"/>
                </a:moveTo>
                <a:cubicBezTo>
                  <a:pt x="2522933" y="2744"/>
                  <a:pt x="2512870" y="1220"/>
                  <a:pt x="2501648" y="488"/>
                </a:cubicBezTo>
                <a:cubicBezTo>
                  <a:pt x="2496830" y="183"/>
                  <a:pt x="2491890" y="0"/>
                  <a:pt x="2486645" y="0"/>
                </a:cubicBezTo>
                <a:lnTo>
                  <a:pt x="1786069" y="0"/>
                </a:lnTo>
                <a:cubicBezTo>
                  <a:pt x="1783874" y="3720"/>
                  <a:pt x="1781556" y="7258"/>
                  <a:pt x="1778995" y="10734"/>
                </a:cubicBezTo>
                <a:lnTo>
                  <a:pt x="1776860" y="10734"/>
                </a:lnTo>
                <a:lnTo>
                  <a:pt x="1777104" y="10429"/>
                </a:lnTo>
                <a:cubicBezTo>
                  <a:pt x="1779665" y="7136"/>
                  <a:pt x="1782044" y="3598"/>
                  <a:pt x="1784240" y="61"/>
                </a:cubicBezTo>
                <a:lnTo>
                  <a:pt x="1781922" y="61"/>
                </a:lnTo>
                <a:lnTo>
                  <a:pt x="1769724" y="16345"/>
                </a:lnTo>
                <a:cubicBezTo>
                  <a:pt x="1759722" y="25920"/>
                  <a:pt x="1745146" y="40313"/>
                  <a:pt x="1733131" y="46839"/>
                </a:cubicBezTo>
                <a:cubicBezTo>
                  <a:pt x="1721117" y="53365"/>
                  <a:pt x="1703918" y="55866"/>
                  <a:pt x="1690439" y="59037"/>
                </a:cubicBezTo>
                <a:lnTo>
                  <a:pt x="1672143" y="61172"/>
                </a:lnTo>
                <a:lnTo>
                  <a:pt x="1635793" y="61050"/>
                </a:lnTo>
                <a:lnTo>
                  <a:pt x="273187" y="61050"/>
                </a:lnTo>
                <a:cubicBezTo>
                  <a:pt x="123338" y="60989"/>
                  <a:pt x="1666" y="184185"/>
                  <a:pt x="19" y="333669"/>
                </a:cubicBezTo>
                <a:cubicBezTo>
                  <a:pt x="-225" y="353551"/>
                  <a:pt x="1849" y="373006"/>
                  <a:pt x="5813" y="391730"/>
                </a:cubicBezTo>
                <a:lnTo>
                  <a:pt x="5813" y="345500"/>
                </a:lnTo>
                <a:cubicBezTo>
                  <a:pt x="5874" y="346049"/>
                  <a:pt x="5996" y="346598"/>
                  <a:pt x="6057" y="347147"/>
                </a:cubicBezTo>
                <a:cubicBezTo>
                  <a:pt x="9412" y="446741"/>
                  <a:pt x="66009" y="532796"/>
                  <a:pt x="148404" y="577684"/>
                </a:cubicBezTo>
                <a:cubicBezTo>
                  <a:pt x="187315" y="598176"/>
                  <a:pt x="231471" y="609825"/>
                  <a:pt x="277944" y="609825"/>
                </a:cubicBezTo>
                <a:lnTo>
                  <a:pt x="928387" y="609825"/>
                </a:lnTo>
                <a:cubicBezTo>
                  <a:pt x="961809" y="609825"/>
                  <a:pt x="994560" y="612630"/>
                  <a:pt x="1026518" y="617692"/>
                </a:cubicBezTo>
                <a:cubicBezTo>
                  <a:pt x="1029445" y="618119"/>
                  <a:pt x="1032373" y="618607"/>
                  <a:pt x="1035239" y="619095"/>
                </a:cubicBezTo>
                <a:cubicBezTo>
                  <a:pt x="1037252" y="619461"/>
                  <a:pt x="1039325" y="619705"/>
                  <a:pt x="1041338" y="620132"/>
                </a:cubicBezTo>
                <a:cubicBezTo>
                  <a:pt x="1295660" y="667032"/>
                  <a:pt x="1495520" y="869392"/>
                  <a:pt x="1538761" y="1124995"/>
                </a:cubicBezTo>
                <a:lnTo>
                  <a:pt x="1544372" y="1124995"/>
                </a:lnTo>
                <a:cubicBezTo>
                  <a:pt x="1544372" y="1124995"/>
                  <a:pt x="1545286" y="1125056"/>
                  <a:pt x="1545286" y="1125056"/>
                </a:cubicBezTo>
                <a:cubicBezTo>
                  <a:pt x="1545043" y="1123409"/>
                  <a:pt x="1544921" y="1121763"/>
                  <a:pt x="1544677" y="1120116"/>
                </a:cubicBezTo>
                <a:lnTo>
                  <a:pt x="1547665" y="1121214"/>
                </a:lnTo>
                <a:lnTo>
                  <a:pt x="2282028" y="1121214"/>
                </a:lnTo>
                <a:lnTo>
                  <a:pt x="2282028" y="498033"/>
                </a:lnTo>
                <a:cubicBezTo>
                  <a:pt x="2275930" y="351660"/>
                  <a:pt x="2416203" y="369957"/>
                  <a:pt x="2416203" y="369957"/>
                </a:cubicBezTo>
                <a:lnTo>
                  <a:pt x="2617709" y="369957"/>
                </a:lnTo>
                <a:lnTo>
                  <a:pt x="2617709" y="131064"/>
                </a:lnTo>
                <a:cubicBezTo>
                  <a:pt x="2617709" y="131064"/>
                  <a:pt x="2631920" y="28665"/>
                  <a:pt x="2532081" y="4879"/>
                </a:cubicBezTo>
                <a:close/>
              </a:path>
            </a:pathLst>
          </a:custGeom>
          <a:solidFill>
            <a:srgbClr val="009CDA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97" name="Freeform: Shape 1496">
            <a:extLst>
              <a:ext uri="{FF2B5EF4-FFF2-40B4-BE49-F238E27FC236}">
                <a16:creationId xmlns:a16="http://schemas.microsoft.com/office/drawing/2014/main" id="{A4F459AE-45D8-1E25-ADAE-98C60F5AA214}"/>
              </a:ext>
            </a:extLst>
          </p:cNvPr>
          <p:cNvSpPr/>
          <p:nvPr/>
        </p:nvSpPr>
        <p:spPr>
          <a:xfrm>
            <a:off x="4060633" y="3454530"/>
            <a:ext cx="1683782" cy="1049796"/>
          </a:xfrm>
          <a:custGeom>
            <a:avLst/>
            <a:gdLst>
              <a:gd name="connsiteX0" fmla="*/ 1683661 w 1683782"/>
              <a:gd name="connsiteY0" fmla="*/ 244686 h 1049796"/>
              <a:gd name="connsiteX1" fmla="*/ 819087 w 1683782"/>
              <a:gd name="connsiteY1" fmla="*/ 244686 h 1049796"/>
              <a:gd name="connsiteX2" fmla="*/ 725957 w 1683782"/>
              <a:gd name="connsiteY2" fmla="*/ 128808 h 1049796"/>
              <a:gd name="connsiteX3" fmla="*/ 542991 w 1683782"/>
              <a:gd name="connsiteY3" fmla="*/ 732 h 1049796"/>
              <a:gd name="connsiteX4" fmla="*/ 134368 w 1683782"/>
              <a:gd name="connsiteY4" fmla="*/ 732 h 1049796"/>
              <a:gd name="connsiteX5" fmla="*/ 193 w 1683782"/>
              <a:gd name="connsiteY5" fmla="*/ 128808 h 1049796"/>
              <a:gd name="connsiteX6" fmla="*/ 193 w 1683782"/>
              <a:gd name="connsiteY6" fmla="*/ 751989 h 1049796"/>
              <a:gd name="connsiteX7" fmla="*/ 257138 w 1683782"/>
              <a:gd name="connsiteY7" fmla="*/ 751989 h 1049796"/>
              <a:gd name="connsiteX8" fmla="*/ 282875 w 1683782"/>
              <a:gd name="connsiteY8" fmla="*/ 755953 h 1049796"/>
              <a:gd name="connsiteX9" fmla="*/ 339412 w 1683782"/>
              <a:gd name="connsiteY9" fmla="*/ 845545 h 1049796"/>
              <a:gd name="connsiteX10" fmla="*/ 339412 w 1683782"/>
              <a:gd name="connsiteY10" fmla="*/ 1031805 h 1049796"/>
              <a:gd name="connsiteX11" fmla="*/ 339290 w 1683782"/>
              <a:gd name="connsiteY11" fmla="*/ 1047723 h 1049796"/>
              <a:gd name="connsiteX12" fmla="*/ 1653044 w 1683782"/>
              <a:gd name="connsiteY12" fmla="*/ 1047723 h 1049796"/>
              <a:gd name="connsiteX13" fmla="*/ 1653044 w 1683782"/>
              <a:gd name="connsiteY13" fmla="*/ 1049796 h 1049796"/>
              <a:gd name="connsiteX14" fmla="*/ 1656094 w 1683782"/>
              <a:gd name="connsiteY14" fmla="*/ 1049796 h 1049796"/>
              <a:gd name="connsiteX15" fmla="*/ 1656094 w 1683782"/>
              <a:gd name="connsiteY15" fmla="*/ 442960 h 1049796"/>
              <a:gd name="connsiteX16" fmla="*/ 1682624 w 1683782"/>
              <a:gd name="connsiteY16" fmla="*/ 246577 h 1049796"/>
              <a:gd name="connsiteX17" fmla="*/ 1683782 w 1683782"/>
              <a:gd name="connsiteY17" fmla="*/ 244747 h 10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683782" h="1049796">
                <a:moveTo>
                  <a:pt x="1683661" y="244686"/>
                </a:moveTo>
                <a:lnTo>
                  <a:pt x="819087" y="244686"/>
                </a:lnTo>
                <a:cubicBezTo>
                  <a:pt x="784323" y="238648"/>
                  <a:pt x="730043" y="215412"/>
                  <a:pt x="725957" y="128808"/>
                </a:cubicBezTo>
                <a:cubicBezTo>
                  <a:pt x="719858" y="732"/>
                  <a:pt x="542991" y="732"/>
                  <a:pt x="542991" y="732"/>
                </a:cubicBezTo>
                <a:lnTo>
                  <a:pt x="134368" y="732"/>
                </a:lnTo>
                <a:cubicBezTo>
                  <a:pt x="134368" y="732"/>
                  <a:pt x="-5906" y="-17565"/>
                  <a:pt x="193" y="128808"/>
                </a:cubicBezTo>
                <a:lnTo>
                  <a:pt x="193" y="751989"/>
                </a:lnTo>
                <a:lnTo>
                  <a:pt x="257138" y="751989"/>
                </a:lnTo>
                <a:cubicBezTo>
                  <a:pt x="266774" y="752599"/>
                  <a:pt x="275313" y="753941"/>
                  <a:pt x="282875" y="755953"/>
                </a:cubicBezTo>
                <a:cubicBezTo>
                  <a:pt x="353683" y="774311"/>
                  <a:pt x="339412" y="845545"/>
                  <a:pt x="339412" y="845545"/>
                </a:cubicBezTo>
                <a:lnTo>
                  <a:pt x="339412" y="1031805"/>
                </a:lnTo>
                <a:lnTo>
                  <a:pt x="339290" y="1047723"/>
                </a:lnTo>
                <a:lnTo>
                  <a:pt x="1653044" y="1047723"/>
                </a:lnTo>
                <a:lnTo>
                  <a:pt x="1653044" y="1049796"/>
                </a:lnTo>
                <a:lnTo>
                  <a:pt x="1656094" y="1049796"/>
                </a:lnTo>
                <a:lnTo>
                  <a:pt x="1656094" y="442960"/>
                </a:lnTo>
                <a:cubicBezTo>
                  <a:pt x="1656094" y="442960"/>
                  <a:pt x="1631942" y="329216"/>
                  <a:pt x="1682624" y="246577"/>
                </a:cubicBezTo>
                <a:cubicBezTo>
                  <a:pt x="1682989" y="245967"/>
                  <a:pt x="1683355" y="245357"/>
                  <a:pt x="1683782" y="24474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98" name="Freeform: Shape 1497">
            <a:extLst>
              <a:ext uri="{FF2B5EF4-FFF2-40B4-BE49-F238E27FC236}">
                <a16:creationId xmlns:a16="http://schemas.microsoft.com/office/drawing/2014/main" id="{26F0FA35-81D4-E02A-A92C-21DC9828959F}"/>
              </a:ext>
            </a:extLst>
          </p:cNvPr>
          <p:cNvSpPr/>
          <p:nvPr/>
        </p:nvSpPr>
        <p:spPr>
          <a:xfrm>
            <a:off x="7522476" y="4428335"/>
            <a:ext cx="6220" cy="17564"/>
          </a:xfrm>
          <a:custGeom>
            <a:avLst/>
            <a:gdLst>
              <a:gd name="connsiteX0" fmla="*/ 0 w 6220"/>
              <a:gd name="connsiteY0" fmla="*/ 0 h 17564"/>
              <a:gd name="connsiteX1" fmla="*/ 6221 w 6220"/>
              <a:gd name="connsiteY1" fmla="*/ 17565 h 17564"/>
              <a:gd name="connsiteX2" fmla="*/ 0 w 6220"/>
              <a:gd name="connsiteY2" fmla="*/ 0 h 17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220" h="17564">
                <a:moveTo>
                  <a:pt x="0" y="0"/>
                </a:moveTo>
                <a:cubicBezTo>
                  <a:pt x="1952" y="5855"/>
                  <a:pt x="4025" y="11710"/>
                  <a:pt x="6221" y="17565"/>
                </a:cubicBezTo>
                <a:cubicBezTo>
                  <a:pt x="4086" y="11710"/>
                  <a:pt x="2012" y="5855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99" name="Freeform: Shape 1498">
            <a:extLst>
              <a:ext uri="{FF2B5EF4-FFF2-40B4-BE49-F238E27FC236}">
                <a16:creationId xmlns:a16="http://schemas.microsoft.com/office/drawing/2014/main" id="{2FAEDBBC-34ED-AA65-F17A-5E3D49734E71}"/>
              </a:ext>
            </a:extLst>
          </p:cNvPr>
          <p:cNvSpPr/>
          <p:nvPr/>
        </p:nvSpPr>
        <p:spPr>
          <a:xfrm>
            <a:off x="7516804" y="4410160"/>
            <a:ext cx="4879" cy="15552"/>
          </a:xfrm>
          <a:custGeom>
            <a:avLst/>
            <a:gdLst>
              <a:gd name="connsiteX0" fmla="*/ 0 w 4879"/>
              <a:gd name="connsiteY0" fmla="*/ 0 h 15552"/>
              <a:gd name="connsiteX1" fmla="*/ 4879 w 4879"/>
              <a:gd name="connsiteY1" fmla="*/ 15552 h 15552"/>
              <a:gd name="connsiteX2" fmla="*/ 0 w 4879"/>
              <a:gd name="connsiteY2" fmla="*/ 0 h 1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79" h="15552">
                <a:moveTo>
                  <a:pt x="0" y="0"/>
                </a:moveTo>
                <a:cubicBezTo>
                  <a:pt x="1525" y="5184"/>
                  <a:pt x="3171" y="10368"/>
                  <a:pt x="4879" y="15552"/>
                </a:cubicBezTo>
                <a:cubicBezTo>
                  <a:pt x="3171" y="10368"/>
                  <a:pt x="1585" y="5184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0" name="Freeform: Shape 1499">
            <a:extLst>
              <a:ext uri="{FF2B5EF4-FFF2-40B4-BE49-F238E27FC236}">
                <a16:creationId xmlns:a16="http://schemas.microsoft.com/office/drawing/2014/main" id="{0ECDA608-5A43-71B1-9F05-7144721BD960}"/>
              </a:ext>
            </a:extLst>
          </p:cNvPr>
          <p:cNvSpPr/>
          <p:nvPr/>
        </p:nvSpPr>
        <p:spPr>
          <a:xfrm>
            <a:off x="7501679" y="4346793"/>
            <a:ext cx="3476" cy="17625"/>
          </a:xfrm>
          <a:custGeom>
            <a:avLst/>
            <a:gdLst>
              <a:gd name="connsiteX0" fmla="*/ 0 w 3476"/>
              <a:gd name="connsiteY0" fmla="*/ 0 h 17625"/>
              <a:gd name="connsiteX1" fmla="*/ 3476 w 3476"/>
              <a:gd name="connsiteY1" fmla="*/ 17626 h 17625"/>
              <a:gd name="connsiteX2" fmla="*/ 0 w 3476"/>
              <a:gd name="connsiteY2" fmla="*/ 0 h 17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6" h="17625">
                <a:moveTo>
                  <a:pt x="0" y="0"/>
                </a:moveTo>
                <a:cubicBezTo>
                  <a:pt x="1037" y="5916"/>
                  <a:pt x="2257" y="11771"/>
                  <a:pt x="3476" y="17626"/>
                </a:cubicBezTo>
                <a:cubicBezTo>
                  <a:pt x="2257" y="11771"/>
                  <a:pt x="1037" y="5916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1" name="Freeform: Shape 1500">
            <a:extLst>
              <a:ext uri="{FF2B5EF4-FFF2-40B4-BE49-F238E27FC236}">
                <a16:creationId xmlns:a16="http://schemas.microsoft.com/office/drawing/2014/main" id="{075DA22F-5004-5002-052A-353269459266}"/>
              </a:ext>
            </a:extLst>
          </p:cNvPr>
          <p:cNvSpPr/>
          <p:nvPr/>
        </p:nvSpPr>
        <p:spPr>
          <a:xfrm>
            <a:off x="7510522" y="4387533"/>
            <a:ext cx="4879" cy="17930"/>
          </a:xfrm>
          <a:custGeom>
            <a:avLst/>
            <a:gdLst>
              <a:gd name="connsiteX0" fmla="*/ 0 w 4879"/>
              <a:gd name="connsiteY0" fmla="*/ 0 h 17930"/>
              <a:gd name="connsiteX1" fmla="*/ 4879 w 4879"/>
              <a:gd name="connsiteY1" fmla="*/ 17931 h 17930"/>
              <a:gd name="connsiteX2" fmla="*/ 0 w 4879"/>
              <a:gd name="connsiteY2" fmla="*/ 0 h 17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79" h="17930">
                <a:moveTo>
                  <a:pt x="0" y="0"/>
                </a:moveTo>
                <a:cubicBezTo>
                  <a:pt x="1525" y="6038"/>
                  <a:pt x="3172" y="12015"/>
                  <a:pt x="4879" y="17931"/>
                </a:cubicBezTo>
                <a:cubicBezTo>
                  <a:pt x="3172" y="11954"/>
                  <a:pt x="1525" y="5977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2" name="Freeform: Shape 1501">
            <a:extLst>
              <a:ext uri="{FF2B5EF4-FFF2-40B4-BE49-F238E27FC236}">
                <a16:creationId xmlns:a16="http://schemas.microsoft.com/office/drawing/2014/main" id="{86127985-F62A-0206-CC78-BD2794BBB4EF}"/>
              </a:ext>
            </a:extLst>
          </p:cNvPr>
          <p:cNvSpPr/>
          <p:nvPr/>
        </p:nvSpPr>
        <p:spPr>
          <a:xfrm>
            <a:off x="7500093" y="4336974"/>
            <a:ext cx="1464" cy="9087"/>
          </a:xfrm>
          <a:custGeom>
            <a:avLst/>
            <a:gdLst>
              <a:gd name="connsiteX0" fmla="*/ 1464 w 1464"/>
              <a:gd name="connsiteY0" fmla="*/ 9087 h 9087"/>
              <a:gd name="connsiteX1" fmla="*/ 0 w 1464"/>
              <a:gd name="connsiteY1" fmla="*/ 0 h 9087"/>
              <a:gd name="connsiteX2" fmla="*/ 0 w 1464"/>
              <a:gd name="connsiteY2" fmla="*/ 183 h 9087"/>
              <a:gd name="connsiteX3" fmla="*/ 1464 w 1464"/>
              <a:gd name="connsiteY3" fmla="*/ 9087 h 9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64" h="9087">
                <a:moveTo>
                  <a:pt x="1464" y="9087"/>
                </a:moveTo>
                <a:cubicBezTo>
                  <a:pt x="915" y="6038"/>
                  <a:pt x="488" y="2988"/>
                  <a:pt x="0" y="0"/>
                </a:cubicBezTo>
                <a:cubicBezTo>
                  <a:pt x="0" y="61"/>
                  <a:pt x="0" y="122"/>
                  <a:pt x="0" y="183"/>
                </a:cubicBezTo>
                <a:cubicBezTo>
                  <a:pt x="488" y="3171"/>
                  <a:pt x="976" y="6099"/>
                  <a:pt x="1464" y="9087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3" name="Freeform: Shape 1502">
            <a:extLst>
              <a:ext uri="{FF2B5EF4-FFF2-40B4-BE49-F238E27FC236}">
                <a16:creationId xmlns:a16="http://schemas.microsoft.com/office/drawing/2014/main" id="{2A1CC233-41D8-15D2-215B-95AC7BC524F9}"/>
              </a:ext>
            </a:extLst>
          </p:cNvPr>
          <p:cNvSpPr/>
          <p:nvPr/>
        </p:nvSpPr>
        <p:spPr>
          <a:xfrm>
            <a:off x="7530343" y="4450291"/>
            <a:ext cx="5793" cy="14698"/>
          </a:xfrm>
          <a:custGeom>
            <a:avLst/>
            <a:gdLst>
              <a:gd name="connsiteX0" fmla="*/ 0 w 5793"/>
              <a:gd name="connsiteY0" fmla="*/ 0 h 14698"/>
              <a:gd name="connsiteX1" fmla="*/ 5794 w 5793"/>
              <a:gd name="connsiteY1" fmla="*/ 14698 h 14698"/>
              <a:gd name="connsiteX2" fmla="*/ 0 w 5793"/>
              <a:gd name="connsiteY2" fmla="*/ 0 h 14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93" h="14698">
                <a:moveTo>
                  <a:pt x="0" y="0"/>
                </a:moveTo>
                <a:cubicBezTo>
                  <a:pt x="1830" y="4940"/>
                  <a:pt x="3781" y="9819"/>
                  <a:pt x="5794" y="14698"/>
                </a:cubicBezTo>
                <a:cubicBezTo>
                  <a:pt x="3781" y="9819"/>
                  <a:pt x="1891" y="4940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4" name="Freeform: Shape 1503">
            <a:extLst>
              <a:ext uri="{FF2B5EF4-FFF2-40B4-BE49-F238E27FC236}">
                <a16:creationId xmlns:a16="http://schemas.microsoft.com/office/drawing/2014/main" id="{7B9931EF-B5C1-C030-4A17-55D75AA25B6F}"/>
              </a:ext>
            </a:extLst>
          </p:cNvPr>
          <p:cNvSpPr/>
          <p:nvPr/>
        </p:nvSpPr>
        <p:spPr>
          <a:xfrm>
            <a:off x="7506192" y="4369237"/>
            <a:ext cx="3964" cy="16893"/>
          </a:xfrm>
          <a:custGeom>
            <a:avLst/>
            <a:gdLst>
              <a:gd name="connsiteX0" fmla="*/ 0 w 3964"/>
              <a:gd name="connsiteY0" fmla="*/ 0 h 16893"/>
              <a:gd name="connsiteX1" fmla="*/ 3964 w 3964"/>
              <a:gd name="connsiteY1" fmla="*/ 16894 h 16893"/>
              <a:gd name="connsiteX2" fmla="*/ 0 w 3964"/>
              <a:gd name="connsiteY2" fmla="*/ 0 h 16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64" h="16893">
                <a:moveTo>
                  <a:pt x="0" y="0"/>
                </a:moveTo>
                <a:cubicBezTo>
                  <a:pt x="1220" y="5672"/>
                  <a:pt x="2562" y="11283"/>
                  <a:pt x="3964" y="16894"/>
                </a:cubicBezTo>
                <a:cubicBezTo>
                  <a:pt x="2562" y="11283"/>
                  <a:pt x="1220" y="5672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5" name="Freeform: Shape 1504">
            <a:extLst>
              <a:ext uri="{FF2B5EF4-FFF2-40B4-BE49-F238E27FC236}">
                <a16:creationId xmlns:a16="http://schemas.microsoft.com/office/drawing/2014/main" id="{7BA73973-E120-2ABE-9393-354A45DCD934}"/>
              </a:ext>
            </a:extLst>
          </p:cNvPr>
          <p:cNvSpPr/>
          <p:nvPr/>
        </p:nvSpPr>
        <p:spPr>
          <a:xfrm>
            <a:off x="7537540" y="4468343"/>
            <a:ext cx="7501" cy="17137"/>
          </a:xfrm>
          <a:custGeom>
            <a:avLst/>
            <a:gdLst>
              <a:gd name="connsiteX0" fmla="*/ 0 w 7501"/>
              <a:gd name="connsiteY0" fmla="*/ 0 h 17137"/>
              <a:gd name="connsiteX1" fmla="*/ 7501 w 7501"/>
              <a:gd name="connsiteY1" fmla="*/ 17138 h 17137"/>
              <a:gd name="connsiteX2" fmla="*/ 0 w 7501"/>
              <a:gd name="connsiteY2" fmla="*/ 0 h 17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501" h="17137">
                <a:moveTo>
                  <a:pt x="0" y="0"/>
                </a:moveTo>
                <a:cubicBezTo>
                  <a:pt x="2379" y="5733"/>
                  <a:pt x="4879" y="11466"/>
                  <a:pt x="7501" y="17138"/>
                </a:cubicBezTo>
                <a:cubicBezTo>
                  <a:pt x="4940" y="11466"/>
                  <a:pt x="2440" y="5733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6" name="Freeform: Shape 1505">
            <a:extLst>
              <a:ext uri="{FF2B5EF4-FFF2-40B4-BE49-F238E27FC236}">
                <a16:creationId xmlns:a16="http://schemas.microsoft.com/office/drawing/2014/main" id="{0CD157AE-0B11-3EA9-B02D-3F124EDE1DE9}"/>
              </a:ext>
            </a:extLst>
          </p:cNvPr>
          <p:cNvSpPr/>
          <p:nvPr/>
        </p:nvSpPr>
        <p:spPr>
          <a:xfrm>
            <a:off x="7522415" y="4037581"/>
            <a:ext cx="5671" cy="16527"/>
          </a:xfrm>
          <a:custGeom>
            <a:avLst/>
            <a:gdLst>
              <a:gd name="connsiteX0" fmla="*/ 5672 w 5671"/>
              <a:gd name="connsiteY0" fmla="*/ 0 h 16527"/>
              <a:gd name="connsiteX1" fmla="*/ 0 w 5671"/>
              <a:gd name="connsiteY1" fmla="*/ 16528 h 16527"/>
              <a:gd name="connsiteX2" fmla="*/ 5672 w 5671"/>
              <a:gd name="connsiteY2" fmla="*/ 0 h 16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671" h="16527">
                <a:moveTo>
                  <a:pt x="5672" y="0"/>
                </a:moveTo>
                <a:cubicBezTo>
                  <a:pt x="3659" y="5489"/>
                  <a:pt x="1769" y="11039"/>
                  <a:pt x="0" y="16528"/>
                </a:cubicBezTo>
                <a:cubicBezTo>
                  <a:pt x="1830" y="10978"/>
                  <a:pt x="3720" y="5489"/>
                  <a:pt x="5672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7" name="Freeform: Shape 1506">
            <a:extLst>
              <a:ext uri="{FF2B5EF4-FFF2-40B4-BE49-F238E27FC236}">
                <a16:creationId xmlns:a16="http://schemas.microsoft.com/office/drawing/2014/main" id="{B461BFDC-B9C7-FEE9-7B24-4D5235AFB287}"/>
              </a:ext>
            </a:extLst>
          </p:cNvPr>
          <p:cNvSpPr/>
          <p:nvPr/>
        </p:nvSpPr>
        <p:spPr>
          <a:xfrm>
            <a:off x="7528575" y="4018797"/>
            <a:ext cx="6708" cy="17503"/>
          </a:xfrm>
          <a:custGeom>
            <a:avLst/>
            <a:gdLst>
              <a:gd name="connsiteX0" fmla="*/ 6709 w 6708"/>
              <a:gd name="connsiteY0" fmla="*/ 0 h 17503"/>
              <a:gd name="connsiteX1" fmla="*/ 0 w 6708"/>
              <a:gd name="connsiteY1" fmla="*/ 17504 h 17503"/>
              <a:gd name="connsiteX2" fmla="*/ 6709 w 6708"/>
              <a:gd name="connsiteY2" fmla="*/ 0 h 17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708" h="17503">
                <a:moveTo>
                  <a:pt x="6709" y="0"/>
                </a:moveTo>
                <a:cubicBezTo>
                  <a:pt x="4391" y="5794"/>
                  <a:pt x="2134" y="11649"/>
                  <a:pt x="0" y="17504"/>
                </a:cubicBezTo>
                <a:cubicBezTo>
                  <a:pt x="2134" y="11649"/>
                  <a:pt x="4391" y="5794"/>
                  <a:pt x="6709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8" name="Freeform: Shape 1507">
            <a:extLst>
              <a:ext uri="{FF2B5EF4-FFF2-40B4-BE49-F238E27FC236}">
                <a16:creationId xmlns:a16="http://schemas.microsoft.com/office/drawing/2014/main" id="{56A25415-D909-2279-A587-6D6B71F822A3}"/>
              </a:ext>
            </a:extLst>
          </p:cNvPr>
          <p:cNvSpPr/>
          <p:nvPr/>
        </p:nvSpPr>
        <p:spPr>
          <a:xfrm>
            <a:off x="7598163" y="3881328"/>
            <a:ext cx="14454" cy="20187"/>
          </a:xfrm>
          <a:custGeom>
            <a:avLst/>
            <a:gdLst>
              <a:gd name="connsiteX0" fmla="*/ 14454 w 14454"/>
              <a:gd name="connsiteY0" fmla="*/ 0 h 20187"/>
              <a:gd name="connsiteX1" fmla="*/ 0 w 14454"/>
              <a:gd name="connsiteY1" fmla="*/ 20187 h 20187"/>
              <a:gd name="connsiteX2" fmla="*/ 14454 w 14454"/>
              <a:gd name="connsiteY2" fmla="*/ 0 h 20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454" h="20187">
                <a:moveTo>
                  <a:pt x="14454" y="0"/>
                </a:moveTo>
                <a:cubicBezTo>
                  <a:pt x="9453" y="6648"/>
                  <a:pt x="4635" y="13357"/>
                  <a:pt x="0" y="20187"/>
                </a:cubicBezTo>
                <a:cubicBezTo>
                  <a:pt x="4696" y="13418"/>
                  <a:pt x="9514" y="6648"/>
                  <a:pt x="14454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09" name="Freeform: Shape 1508">
            <a:extLst>
              <a:ext uri="{FF2B5EF4-FFF2-40B4-BE49-F238E27FC236}">
                <a16:creationId xmlns:a16="http://schemas.microsoft.com/office/drawing/2014/main" id="{470C720A-D888-92BB-8DA2-F302B16A5891}"/>
              </a:ext>
            </a:extLst>
          </p:cNvPr>
          <p:cNvSpPr/>
          <p:nvPr/>
        </p:nvSpPr>
        <p:spPr>
          <a:xfrm>
            <a:off x="7630243" y="3839917"/>
            <a:ext cx="16528" cy="19089"/>
          </a:xfrm>
          <a:custGeom>
            <a:avLst/>
            <a:gdLst>
              <a:gd name="connsiteX0" fmla="*/ 16528 w 16528"/>
              <a:gd name="connsiteY0" fmla="*/ 0 h 19089"/>
              <a:gd name="connsiteX1" fmla="*/ 0 w 16528"/>
              <a:gd name="connsiteY1" fmla="*/ 19089 h 19089"/>
              <a:gd name="connsiteX2" fmla="*/ 16528 w 16528"/>
              <a:gd name="connsiteY2" fmla="*/ 0 h 19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528" h="19089">
                <a:moveTo>
                  <a:pt x="16528" y="0"/>
                </a:moveTo>
                <a:cubicBezTo>
                  <a:pt x="10856" y="6282"/>
                  <a:pt x="5306" y="12625"/>
                  <a:pt x="0" y="19089"/>
                </a:cubicBezTo>
                <a:cubicBezTo>
                  <a:pt x="5367" y="12625"/>
                  <a:pt x="10917" y="6282"/>
                  <a:pt x="16528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10" name="Freeform: Shape 1509">
            <a:extLst>
              <a:ext uri="{FF2B5EF4-FFF2-40B4-BE49-F238E27FC236}">
                <a16:creationId xmlns:a16="http://schemas.microsoft.com/office/drawing/2014/main" id="{41997F3B-A898-A32B-6DF9-4B9225A48199}"/>
              </a:ext>
            </a:extLst>
          </p:cNvPr>
          <p:cNvSpPr/>
          <p:nvPr/>
        </p:nvSpPr>
        <p:spPr>
          <a:xfrm>
            <a:off x="7583342" y="3904138"/>
            <a:ext cx="12990" cy="20004"/>
          </a:xfrm>
          <a:custGeom>
            <a:avLst/>
            <a:gdLst>
              <a:gd name="connsiteX0" fmla="*/ 12991 w 12990"/>
              <a:gd name="connsiteY0" fmla="*/ 0 h 20004"/>
              <a:gd name="connsiteX1" fmla="*/ 0 w 12990"/>
              <a:gd name="connsiteY1" fmla="*/ 20004 h 20004"/>
              <a:gd name="connsiteX2" fmla="*/ 12991 w 12990"/>
              <a:gd name="connsiteY2" fmla="*/ 0 h 20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990" h="20004">
                <a:moveTo>
                  <a:pt x="12991" y="0"/>
                </a:moveTo>
                <a:cubicBezTo>
                  <a:pt x="8477" y="6587"/>
                  <a:pt x="4147" y="13234"/>
                  <a:pt x="0" y="20004"/>
                </a:cubicBezTo>
                <a:cubicBezTo>
                  <a:pt x="4208" y="13295"/>
                  <a:pt x="8539" y="6587"/>
                  <a:pt x="12991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11" name="Freeform: Shape 1510">
            <a:extLst>
              <a:ext uri="{FF2B5EF4-FFF2-40B4-BE49-F238E27FC236}">
                <a16:creationId xmlns:a16="http://schemas.microsoft.com/office/drawing/2014/main" id="{ED9C3508-7F27-694B-191C-83991CB463F6}"/>
              </a:ext>
            </a:extLst>
          </p:cNvPr>
          <p:cNvSpPr/>
          <p:nvPr/>
        </p:nvSpPr>
        <p:spPr>
          <a:xfrm>
            <a:off x="7556447" y="3951099"/>
            <a:ext cx="10977" cy="20797"/>
          </a:xfrm>
          <a:custGeom>
            <a:avLst/>
            <a:gdLst>
              <a:gd name="connsiteX0" fmla="*/ 10978 w 10977"/>
              <a:gd name="connsiteY0" fmla="*/ 0 h 20797"/>
              <a:gd name="connsiteX1" fmla="*/ 0 w 10977"/>
              <a:gd name="connsiteY1" fmla="*/ 20797 h 20797"/>
              <a:gd name="connsiteX2" fmla="*/ 10978 w 10977"/>
              <a:gd name="connsiteY2" fmla="*/ 0 h 20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977" h="20797">
                <a:moveTo>
                  <a:pt x="10978" y="0"/>
                </a:moveTo>
                <a:cubicBezTo>
                  <a:pt x="7197" y="6892"/>
                  <a:pt x="3476" y="13783"/>
                  <a:pt x="0" y="20797"/>
                </a:cubicBezTo>
                <a:cubicBezTo>
                  <a:pt x="3537" y="13783"/>
                  <a:pt x="7197" y="6892"/>
                  <a:pt x="10978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12" name="Freeform: Shape 1511">
            <a:extLst>
              <a:ext uri="{FF2B5EF4-FFF2-40B4-BE49-F238E27FC236}">
                <a16:creationId xmlns:a16="http://schemas.microsoft.com/office/drawing/2014/main" id="{D7BD8156-31C4-ACF6-6608-FD39D838A447}"/>
              </a:ext>
            </a:extLst>
          </p:cNvPr>
          <p:cNvSpPr/>
          <p:nvPr/>
        </p:nvSpPr>
        <p:spPr>
          <a:xfrm>
            <a:off x="7569315" y="3927436"/>
            <a:ext cx="11892" cy="20187"/>
          </a:xfrm>
          <a:custGeom>
            <a:avLst/>
            <a:gdLst>
              <a:gd name="connsiteX0" fmla="*/ 11893 w 11892"/>
              <a:gd name="connsiteY0" fmla="*/ 0 h 20187"/>
              <a:gd name="connsiteX1" fmla="*/ 0 w 11892"/>
              <a:gd name="connsiteY1" fmla="*/ 20187 h 20187"/>
              <a:gd name="connsiteX2" fmla="*/ 11893 w 11892"/>
              <a:gd name="connsiteY2" fmla="*/ 0 h 20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892" h="20187">
                <a:moveTo>
                  <a:pt x="11893" y="0"/>
                </a:moveTo>
                <a:cubicBezTo>
                  <a:pt x="7806" y="6648"/>
                  <a:pt x="3842" y="13417"/>
                  <a:pt x="0" y="20187"/>
                </a:cubicBezTo>
                <a:cubicBezTo>
                  <a:pt x="3842" y="13417"/>
                  <a:pt x="7806" y="6648"/>
                  <a:pt x="11893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13" name="Freeform: Shape 1512">
            <a:extLst>
              <a:ext uri="{FF2B5EF4-FFF2-40B4-BE49-F238E27FC236}">
                <a16:creationId xmlns:a16="http://schemas.microsoft.com/office/drawing/2014/main" id="{CC3110C2-E2B5-791C-A377-CA966C76EF72}"/>
              </a:ext>
            </a:extLst>
          </p:cNvPr>
          <p:cNvSpPr/>
          <p:nvPr/>
        </p:nvSpPr>
        <p:spPr>
          <a:xfrm>
            <a:off x="7613654" y="3860165"/>
            <a:ext cx="15674" cy="19882"/>
          </a:xfrm>
          <a:custGeom>
            <a:avLst/>
            <a:gdLst>
              <a:gd name="connsiteX0" fmla="*/ 15674 w 15674"/>
              <a:gd name="connsiteY0" fmla="*/ 0 h 19882"/>
              <a:gd name="connsiteX1" fmla="*/ 0 w 15674"/>
              <a:gd name="connsiteY1" fmla="*/ 19882 h 19882"/>
              <a:gd name="connsiteX2" fmla="*/ 15674 w 15674"/>
              <a:gd name="connsiteY2" fmla="*/ 0 h 1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674" h="19882">
                <a:moveTo>
                  <a:pt x="15674" y="0"/>
                </a:moveTo>
                <a:cubicBezTo>
                  <a:pt x="10307" y="6526"/>
                  <a:pt x="5062" y="13173"/>
                  <a:pt x="0" y="19882"/>
                </a:cubicBezTo>
                <a:cubicBezTo>
                  <a:pt x="5062" y="13173"/>
                  <a:pt x="10307" y="6526"/>
                  <a:pt x="15674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15" name="Freeform: Shape 1514">
            <a:extLst>
              <a:ext uri="{FF2B5EF4-FFF2-40B4-BE49-F238E27FC236}">
                <a16:creationId xmlns:a16="http://schemas.microsoft.com/office/drawing/2014/main" id="{59CA6E88-9AA2-DC39-9ECC-81CDAA5157EA}"/>
              </a:ext>
            </a:extLst>
          </p:cNvPr>
          <p:cNvSpPr/>
          <p:nvPr/>
        </p:nvSpPr>
        <p:spPr>
          <a:xfrm>
            <a:off x="7544615" y="3974885"/>
            <a:ext cx="10307" cy="21772"/>
          </a:xfrm>
          <a:custGeom>
            <a:avLst/>
            <a:gdLst>
              <a:gd name="connsiteX0" fmla="*/ 10307 w 10307"/>
              <a:gd name="connsiteY0" fmla="*/ 0 h 21772"/>
              <a:gd name="connsiteX1" fmla="*/ 0 w 10307"/>
              <a:gd name="connsiteY1" fmla="*/ 21773 h 21772"/>
              <a:gd name="connsiteX2" fmla="*/ 10307 w 10307"/>
              <a:gd name="connsiteY2" fmla="*/ 0 h 2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307" h="21772">
                <a:moveTo>
                  <a:pt x="10307" y="0"/>
                </a:moveTo>
                <a:cubicBezTo>
                  <a:pt x="6709" y="7197"/>
                  <a:pt x="3293" y="14454"/>
                  <a:pt x="0" y="21773"/>
                </a:cubicBezTo>
                <a:cubicBezTo>
                  <a:pt x="3293" y="14454"/>
                  <a:pt x="6709" y="7197"/>
                  <a:pt x="10307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16" name="Freeform: Shape 1515">
            <a:extLst>
              <a:ext uri="{FF2B5EF4-FFF2-40B4-BE49-F238E27FC236}">
                <a16:creationId xmlns:a16="http://schemas.microsoft.com/office/drawing/2014/main" id="{A146A549-5D29-AEF3-BDAA-3724D139C1D1}"/>
              </a:ext>
            </a:extLst>
          </p:cNvPr>
          <p:cNvSpPr/>
          <p:nvPr/>
        </p:nvSpPr>
        <p:spPr>
          <a:xfrm>
            <a:off x="7537113" y="3999158"/>
            <a:ext cx="6403" cy="15064"/>
          </a:xfrm>
          <a:custGeom>
            <a:avLst/>
            <a:gdLst>
              <a:gd name="connsiteX0" fmla="*/ 6404 w 6403"/>
              <a:gd name="connsiteY0" fmla="*/ 0 h 15064"/>
              <a:gd name="connsiteX1" fmla="*/ 0 w 6403"/>
              <a:gd name="connsiteY1" fmla="*/ 15064 h 15064"/>
              <a:gd name="connsiteX2" fmla="*/ 6404 w 6403"/>
              <a:gd name="connsiteY2" fmla="*/ 0 h 15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03" h="15064">
                <a:moveTo>
                  <a:pt x="6404" y="0"/>
                </a:moveTo>
                <a:cubicBezTo>
                  <a:pt x="4208" y="5001"/>
                  <a:pt x="2074" y="10002"/>
                  <a:pt x="0" y="15064"/>
                </a:cubicBezTo>
                <a:cubicBezTo>
                  <a:pt x="2074" y="10002"/>
                  <a:pt x="4208" y="5001"/>
                  <a:pt x="6404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17" name="Freeform: Shape 1516">
            <a:extLst>
              <a:ext uri="{FF2B5EF4-FFF2-40B4-BE49-F238E27FC236}">
                <a16:creationId xmlns:a16="http://schemas.microsoft.com/office/drawing/2014/main" id="{1CA1261E-29BB-B159-D96E-546C90339394}"/>
              </a:ext>
            </a:extLst>
          </p:cNvPr>
          <p:cNvSpPr/>
          <p:nvPr/>
        </p:nvSpPr>
        <p:spPr>
          <a:xfrm>
            <a:off x="7498446" y="4140774"/>
            <a:ext cx="2439" cy="15491"/>
          </a:xfrm>
          <a:custGeom>
            <a:avLst/>
            <a:gdLst>
              <a:gd name="connsiteX0" fmla="*/ 2439 w 2439"/>
              <a:gd name="connsiteY0" fmla="*/ 0 h 15491"/>
              <a:gd name="connsiteX1" fmla="*/ 0 w 2439"/>
              <a:gd name="connsiteY1" fmla="*/ 15491 h 15491"/>
              <a:gd name="connsiteX2" fmla="*/ 2439 w 2439"/>
              <a:gd name="connsiteY2" fmla="*/ 0 h 15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9" h="15491">
                <a:moveTo>
                  <a:pt x="2439" y="0"/>
                </a:moveTo>
                <a:cubicBezTo>
                  <a:pt x="1586" y="5184"/>
                  <a:pt x="732" y="10307"/>
                  <a:pt x="0" y="15491"/>
                </a:cubicBezTo>
                <a:cubicBezTo>
                  <a:pt x="732" y="10307"/>
                  <a:pt x="1586" y="5123"/>
                  <a:pt x="2439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18" name="Freeform: Shape 1517">
            <a:extLst>
              <a:ext uri="{FF2B5EF4-FFF2-40B4-BE49-F238E27FC236}">
                <a16:creationId xmlns:a16="http://schemas.microsoft.com/office/drawing/2014/main" id="{5B59B968-5C0F-5CDC-E818-596CE268E384}"/>
              </a:ext>
            </a:extLst>
          </p:cNvPr>
          <p:cNvSpPr/>
          <p:nvPr/>
        </p:nvSpPr>
        <p:spPr>
          <a:xfrm>
            <a:off x="7493994" y="4285866"/>
            <a:ext cx="1646" cy="18357"/>
          </a:xfrm>
          <a:custGeom>
            <a:avLst/>
            <a:gdLst>
              <a:gd name="connsiteX0" fmla="*/ 0 w 1646"/>
              <a:gd name="connsiteY0" fmla="*/ 0 h 18357"/>
              <a:gd name="connsiteX1" fmla="*/ 1647 w 1646"/>
              <a:gd name="connsiteY1" fmla="*/ 18358 h 18357"/>
              <a:gd name="connsiteX2" fmla="*/ 0 w 1646"/>
              <a:gd name="connsiteY2" fmla="*/ 0 h 18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46" h="18357">
                <a:moveTo>
                  <a:pt x="0" y="0"/>
                </a:moveTo>
                <a:cubicBezTo>
                  <a:pt x="427" y="6160"/>
                  <a:pt x="976" y="12259"/>
                  <a:pt x="1647" y="18358"/>
                </a:cubicBezTo>
                <a:cubicBezTo>
                  <a:pt x="976" y="12259"/>
                  <a:pt x="488" y="6099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19" name="Freeform: Shape 1518">
            <a:extLst>
              <a:ext uri="{FF2B5EF4-FFF2-40B4-BE49-F238E27FC236}">
                <a16:creationId xmlns:a16="http://schemas.microsoft.com/office/drawing/2014/main" id="{B4112AB0-4E38-B9B2-F961-EF18FEB11C66}"/>
              </a:ext>
            </a:extLst>
          </p:cNvPr>
          <p:cNvSpPr/>
          <p:nvPr/>
        </p:nvSpPr>
        <p:spPr>
          <a:xfrm>
            <a:off x="7495885" y="4306602"/>
            <a:ext cx="2012" cy="16344"/>
          </a:xfrm>
          <a:custGeom>
            <a:avLst/>
            <a:gdLst>
              <a:gd name="connsiteX0" fmla="*/ 0 w 2012"/>
              <a:gd name="connsiteY0" fmla="*/ 0 h 16344"/>
              <a:gd name="connsiteX1" fmla="*/ 2013 w 2012"/>
              <a:gd name="connsiteY1" fmla="*/ 16345 h 16344"/>
              <a:gd name="connsiteX2" fmla="*/ 0 w 2012"/>
              <a:gd name="connsiteY2" fmla="*/ 0 h 16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12" h="16344">
                <a:moveTo>
                  <a:pt x="0" y="0"/>
                </a:moveTo>
                <a:cubicBezTo>
                  <a:pt x="610" y="5428"/>
                  <a:pt x="1281" y="10917"/>
                  <a:pt x="2013" y="16345"/>
                </a:cubicBezTo>
                <a:cubicBezTo>
                  <a:pt x="1281" y="10917"/>
                  <a:pt x="549" y="5489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0" name="Freeform: Shape 1519">
            <a:extLst>
              <a:ext uri="{FF2B5EF4-FFF2-40B4-BE49-F238E27FC236}">
                <a16:creationId xmlns:a16="http://schemas.microsoft.com/office/drawing/2014/main" id="{3F8311B9-7DAD-2F98-5D10-CADAAC68A6E8}"/>
              </a:ext>
            </a:extLst>
          </p:cNvPr>
          <p:cNvSpPr/>
          <p:nvPr/>
        </p:nvSpPr>
        <p:spPr>
          <a:xfrm>
            <a:off x="7515645" y="4058805"/>
            <a:ext cx="5244" cy="17198"/>
          </a:xfrm>
          <a:custGeom>
            <a:avLst/>
            <a:gdLst>
              <a:gd name="connsiteX0" fmla="*/ 5245 w 5244"/>
              <a:gd name="connsiteY0" fmla="*/ 0 h 17198"/>
              <a:gd name="connsiteX1" fmla="*/ 0 w 5244"/>
              <a:gd name="connsiteY1" fmla="*/ 17199 h 17198"/>
              <a:gd name="connsiteX2" fmla="*/ 5245 w 5244"/>
              <a:gd name="connsiteY2" fmla="*/ 0 h 17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44" h="17198">
                <a:moveTo>
                  <a:pt x="5245" y="0"/>
                </a:moveTo>
                <a:cubicBezTo>
                  <a:pt x="3415" y="5733"/>
                  <a:pt x="1646" y="11466"/>
                  <a:pt x="0" y="17199"/>
                </a:cubicBezTo>
                <a:cubicBezTo>
                  <a:pt x="1646" y="11405"/>
                  <a:pt x="3415" y="5672"/>
                  <a:pt x="5245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1" name="Freeform: Shape 1520">
            <a:extLst>
              <a:ext uri="{FF2B5EF4-FFF2-40B4-BE49-F238E27FC236}">
                <a16:creationId xmlns:a16="http://schemas.microsoft.com/office/drawing/2014/main" id="{D5BC78F7-6992-FC81-E0D5-9A3475B557B9}"/>
              </a:ext>
            </a:extLst>
          </p:cNvPr>
          <p:cNvSpPr/>
          <p:nvPr/>
        </p:nvSpPr>
        <p:spPr>
          <a:xfrm>
            <a:off x="7498629" y="4327704"/>
            <a:ext cx="1463" cy="9453"/>
          </a:xfrm>
          <a:custGeom>
            <a:avLst/>
            <a:gdLst>
              <a:gd name="connsiteX0" fmla="*/ 1464 w 1463"/>
              <a:gd name="connsiteY0" fmla="*/ 9453 h 9453"/>
              <a:gd name="connsiteX1" fmla="*/ 1464 w 1463"/>
              <a:gd name="connsiteY1" fmla="*/ 9270 h 9453"/>
              <a:gd name="connsiteX2" fmla="*/ 0 w 1463"/>
              <a:gd name="connsiteY2" fmla="*/ 0 h 9453"/>
              <a:gd name="connsiteX3" fmla="*/ 1464 w 1463"/>
              <a:gd name="connsiteY3" fmla="*/ 9453 h 9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63" h="9453">
                <a:moveTo>
                  <a:pt x="1464" y="9453"/>
                </a:moveTo>
                <a:cubicBezTo>
                  <a:pt x="1464" y="9453"/>
                  <a:pt x="1464" y="9331"/>
                  <a:pt x="1464" y="9270"/>
                </a:cubicBezTo>
                <a:cubicBezTo>
                  <a:pt x="976" y="6160"/>
                  <a:pt x="427" y="3110"/>
                  <a:pt x="0" y="0"/>
                </a:cubicBezTo>
                <a:cubicBezTo>
                  <a:pt x="488" y="3172"/>
                  <a:pt x="976" y="6282"/>
                  <a:pt x="1464" y="9453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2" name="Freeform: Shape 1521">
            <a:extLst>
              <a:ext uri="{FF2B5EF4-FFF2-40B4-BE49-F238E27FC236}">
                <a16:creationId xmlns:a16="http://schemas.microsoft.com/office/drawing/2014/main" id="{95ED0802-A2D8-0D28-8F15-33CD891ECA54}"/>
              </a:ext>
            </a:extLst>
          </p:cNvPr>
          <p:cNvSpPr/>
          <p:nvPr/>
        </p:nvSpPr>
        <p:spPr>
          <a:xfrm>
            <a:off x="7492287" y="4243783"/>
            <a:ext cx="365" cy="18357"/>
          </a:xfrm>
          <a:custGeom>
            <a:avLst/>
            <a:gdLst>
              <a:gd name="connsiteX0" fmla="*/ 366 w 365"/>
              <a:gd name="connsiteY0" fmla="*/ 18357 h 18357"/>
              <a:gd name="connsiteX1" fmla="*/ 0 w 365"/>
              <a:gd name="connsiteY1" fmla="*/ 0 h 18357"/>
              <a:gd name="connsiteX2" fmla="*/ 366 w 365"/>
              <a:gd name="connsiteY2" fmla="*/ 18357 h 18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5" h="18357">
                <a:moveTo>
                  <a:pt x="366" y="18357"/>
                </a:moveTo>
                <a:cubicBezTo>
                  <a:pt x="183" y="12259"/>
                  <a:pt x="61" y="6099"/>
                  <a:pt x="0" y="0"/>
                </a:cubicBezTo>
                <a:cubicBezTo>
                  <a:pt x="0" y="6099"/>
                  <a:pt x="122" y="12259"/>
                  <a:pt x="366" y="18357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3" name="Freeform: Shape 1522">
            <a:extLst>
              <a:ext uri="{FF2B5EF4-FFF2-40B4-BE49-F238E27FC236}">
                <a16:creationId xmlns:a16="http://schemas.microsoft.com/office/drawing/2014/main" id="{4A391124-F681-2FFB-0831-0BC536153DB0}"/>
              </a:ext>
            </a:extLst>
          </p:cNvPr>
          <p:cNvSpPr/>
          <p:nvPr/>
        </p:nvSpPr>
        <p:spPr>
          <a:xfrm>
            <a:off x="7492348" y="4223962"/>
            <a:ext cx="243" cy="15369"/>
          </a:xfrm>
          <a:custGeom>
            <a:avLst/>
            <a:gdLst>
              <a:gd name="connsiteX0" fmla="*/ 244 w 243"/>
              <a:gd name="connsiteY0" fmla="*/ 0 h 15369"/>
              <a:gd name="connsiteX1" fmla="*/ 0 w 243"/>
              <a:gd name="connsiteY1" fmla="*/ 15369 h 15369"/>
              <a:gd name="connsiteX2" fmla="*/ 244 w 243"/>
              <a:gd name="connsiteY2" fmla="*/ 0 h 15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" h="15369">
                <a:moveTo>
                  <a:pt x="244" y="0"/>
                </a:moveTo>
                <a:cubicBezTo>
                  <a:pt x="122" y="5123"/>
                  <a:pt x="0" y="10246"/>
                  <a:pt x="0" y="15369"/>
                </a:cubicBezTo>
                <a:cubicBezTo>
                  <a:pt x="0" y="10246"/>
                  <a:pt x="122" y="5123"/>
                  <a:pt x="244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4" name="Freeform: Shape 1523">
            <a:extLst>
              <a:ext uri="{FF2B5EF4-FFF2-40B4-BE49-F238E27FC236}">
                <a16:creationId xmlns:a16="http://schemas.microsoft.com/office/drawing/2014/main" id="{4FA489B6-3883-8573-F547-B0E1722B9DF1}"/>
              </a:ext>
            </a:extLst>
          </p:cNvPr>
          <p:cNvSpPr/>
          <p:nvPr/>
        </p:nvSpPr>
        <p:spPr>
          <a:xfrm>
            <a:off x="7648905" y="3820584"/>
            <a:ext cx="16101" cy="16954"/>
          </a:xfrm>
          <a:custGeom>
            <a:avLst/>
            <a:gdLst>
              <a:gd name="connsiteX0" fmla="*/ 0 w 16101"/>
              <a:gd name="connsiteY0" fmla="*/ 16955 h 16954"/>
              <a:gd name="connsiteX1" fmla="*/ 16101 w 16101"/>
              <a:gd name="connsiteY1" fmla="*/ 0 h 16954"/>
              <a:gd name="connsiteX2" fmla="*/ 13845 w 16101"/>
              <a:gd name="connsiteY2" fmla="*/ 2257 h 16954"/>
              <a:gd name="connsiteX3" fmla="*/ 0 w 16101"/>
              <a:gd name="connsiteY3" fmla="*/ 16955 h 16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01" h="16954">
                <a:moveTo>
                  <a:pt x="0" y="16955"/>
                </a:moveTo>
                <a:cubicBezTo>
                  <a:pt x="5245" y="11222"/>
                  <a:pt x="10612" y="5550"/>
                  <a:pt x="16101" y="0"/>
                </a:cubicBezTo>
                <a:cubicBezTo>
                  <a:pt x="15369" y="732"/>
                  <a:pt x="14576" y="1525"/>
                  <a:pt x="13845" y="2257"/>
                </a:cubicBezTo>
                <a:cubicBezTo>
                  <a:pt x="9148" y="7075"/>
                  <a:pt x="4513" y="12015"/>
                  <a:pt x="0" y="16955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5" name="Freeform: Shape 1524">
            <a:extLst>
              <a:ext uri="{FF2B5EF4-FFF2-40B4-BE49-F238E27FC236}">
                <a16:creationId xmlns:a16="http://schemas.microsoft.com/office/drawing/2014/main" id="{EC515D22-66B0-6777-C6FB-4A623FB609B1}"/>
              </a:ext>
            </a:extLst>
          </p:cNvPr>
          <p:cNvSpPr/>
          <p:nvPr/>
        </p:nvSpPr>
        <p:spPr>
          <a:xfrm>
            <a:off x="7492835" y="4265495"/>
            <a:ext cx="853" cy="15674"/>
          </a:xfrm>
          <a:custGeom>
            <a:avLst/>
            <a:gdLst>
              <a:gd name="connsiteX0" fmla="*/ 0 w 853"/>
              <a:gd name="connsiteY0" fmla="*/ 0 h 15674"/>
              <a:gd name="connsiteX1" fmla="*/ 854 w 853"/>
              <a:gd name="connsiteY1" fmla="*/ 15674 h 15674"/>
              <a:gd name="connsiteX2" fmla="*/ 0 w 853"/>
              <a:gd name="connsiteY2" fmla="*/ 0 h 15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3" h="15674">
                <a:moveTo>
                  <a:pt x="0" y="0"/>
                </a:moveTo>
                <a:cubicBezTo>
                  <a:pt x="183" y="5245"/>
                  <a:pt x="488" y="10429"/>
                  <a:pt x="854" y="15674"/>
                </a:cubicBezTo>
                <a:cubicBezTo>
                  <a:pt x="488" y="10490"/>
                  <a:pt x="244" y="5245"/>
                  <a:pt x="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6" name="Freeform: Shape 1525">
            <a:extLst>
              <a:ext uri="{FF2B5EF4-FFF2-40B4-BE49-F238E27FC236}">
                <a16:creationId xmlns:a16="http://schemas.microsoft.com/office/drawing/2014/main" id="{6289ADCD-D69E-159D-0FE0-666CD7AB3901}"/>
              </a:ext>
            </a:extLst>
          </p:cNvPr>
          <p:cNvSpPr/>
          <p:nvPr/>
        </p:nvSpPr>
        <p:spPr>
          <a:xfrm>
            <a:off x="7501679" y="4117964"/>
            <a:ext cx="3537" cy="18174"/>
          </a:xfrm>
          <a:custGeom>
            <a:avLst/>
            <a:gdLst>
              <a:gd name="connsiteX0" fmla="*/ 3537 w 3537"/>
              <a:gd name="connsiteY0" fmla="*/ 0 h 18174"/>
              <a:gd name="connsiteX1" fmla="*/ 0 w 3537"/>
              <a:gd name="connsiteY1" fmla="*/ 18175 h 18174"/>
              <a:gd name="connsiteX2" fmla="*/ 3537 w 3537"/>
              <a:gd name="connsiteY2" fmla="*/ 0 h 18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37" h="18174">
                <a:moveTo>
                  <a:pt x="3537" y="0"/>
                </a:moveTo>
                <a:cubicBezTo>
                  <a:pt x="2257" y="6038"/>
                  <a:pt x="1098" y="12076"/>
                  <a:pt x="0" y="18175"/>
                </a:cubicBezTo>
                <a:cubicBezTo>
                  <a:pt x="1098" y="12137"/>
                  <a:pt x="2257" y="6038"/>
                  <a:pt x="3537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7" name="Freeform: Shape 1526">
            <a:extLst>
              <a:ext uri="{FF2B5EF4-FFF2-40B4-BE49-F238E27FC236}">
                <a16:creationId xmlns:a16="http://schemas.microsoft.com/office/drawing/2014/main" id="{7D4E182B-F8B9-0C3D-ADDA-7C3494A9FEB6}"/>
              </a:ext>
            </a:extLst>
          </p:cNvPr>
          <p:cNvSpPr/>
          <p:nvPr/>
        </p:nvSpPr>
        <p:spPr>
          <a:xfrm>
            <a:off x="7510583" y="4076797"/>
            <a:ext cx="4817" cy="18052"/>
          </a:xfrm>
          <a:custGeom>
            <a:avLst/>
            <a:gdLst>
              <a:gd name="connsiteX0" fmla="*/ 4818 w 4817"/>
              <a:gd name="connsiteY0" fmla="*/ 0 h 18052"/>
              <a:gd name="connsiteX1" fmla="*/ 0 w 4817"/>
              <a:gd name="connsiteY1" fmla="*/ 18053 h 18052"/>
              <a:gd name="connsiteX2" fmla="*/ 4818 w 4817"/>
              <a:gd name="connsiteY2" fmla="*/ 0 h 18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17" h="18052">
                <a:moveTo>
                  <a:pt x="4818" y="0"/>
                </a:moveTo>
                <a:cubicBezTo>
                  <a:pt x="3110" y="5977"/>
                  <a:pt x="1525" y="12015"/>
                  <a:pt x="0" y="18053"/>
                </a:cubicBezTo>
                <a:cubicBezTo>
                  <a:pt x="1525" y="12015"/>
                  <a:pt x="3110" y="5977"/>
                  <a:pt x="4818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8" name="Freeform: Shape 1527">
            <a:extLst>
              <a:ext uri="{FF2B5EF4-FFF2-40B4-BE49-F238E27FC236}">
                <a16:creationId xmlns:a16="http://schemas.microsoft.com/office/drawing/2014/main" id="{12867552-DD4C-75CB-963E-0D35E12AB9C5}"/>
              </a:ext>
            </a:extLst>
          </p:cNvPr>
          <p:cNvSpPr/>
          <p:nvPr/>
        </p:nvSpPr>
        <p:spPr>
          <a:xfrm>
            <a:off x="7492652" y="4201640"/>
            <a:ext cx="975" cy="18357"/>
          </a:xfrm>
          <a:custGeom>
            <a:avLst/>
            <a:gdLst>
              <a:gd name="connsiteX0" fmla="*/ 976 w 975"/>
              <a:gd name="connsiteY0" fmla="*/ 0 h 18357"/>
              <a:gd name="connsiteX1" fmla="*/ 0 w 975"/>
              <a:gd name="connsiteY1" fmla="*/ 18358 h 18357"/>
              <a:gd name="connsiteX2" fmla="*/ 976 w 975"/>
              <a:gd name="connsiteY2" fmla="*/ 0 h 18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5" h="18357">
                <a:moveTo>
                  <a:pt x="976" y="0"/>
                </a:moveTo>
                <a:cubicBezTo>
                  <a:pt x="549" y="6099"/>
                  <a:pt x="244" y="12198"/>
                  <a:pt x="0" y="18358"/>
                </a:cubicBezTo>
                <a:cubicBezTo>
                  <a:pt x="244" y="12259"/>
                  <a:pt x="549" y="6099"/>
                  <a:pt x="976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29" name="Freeform: Shape 1528">
            <a:extLst>
              <a:ext uri="{FF2B5EF4-FFF2-40B4-BE49-F238E27FC236}">
                <a16:creationId xmlns:a16="http://schemas.microsoft.com/office/drawing/2014/main" id="{D8E169F8-DD7E-FFC2-FB46-EF4B553F12CD}"/>
              </a:ext>
            </a:extLst>
          </p:cNvPr>
          <p:cNvSpPr/>
          <p:nvPr/>
        </p:nvSpPr>
        <p:spPr>
          <a:xfrm>
            <a:off x="7505704" y="4099546"/>
            <a:ext cx="3720" cy="16100"/>
          </a:xfrm>
          <a:custGeom>
            <a:avLst/>
            <a:gdLst>
              <a:gd name="connsiteX0" fmla="*/ 3720 w 3720"/>
              <a:gd name="connsiteY0" fmla="*/ 0 h 16100"/>
              <a:gd name="connsiteX1" fmla="*/ 0 w 3720"/>
              <a:gd name="connsiteY1" fmla="*/ 16101 h 16100"/>
              <a:gd name="connsiteX2" fmla="*/ 3720 w 3720"/>
              <a:gd name="connsiteY2" fmla="*/ 0 h 1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20" h="16100">
                <a:moveTo>
                  <a:pt x="3720" y="0"/>
                </a:moveTo>
                <a:cubicBezTo>
                  <a:pt x="2439" y="5367"/>
                  <a:pt x="1159" y="10734"/>
                  <a:pt x="0" y="16101"/>
                </a:cubicBezTo>
                <a:cubicBezTo>
                  <a:pt x="1159" y="10734"/>
                  <a:pt x="2378" y="5367"/>
                  <a:pt x="3720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30" name="Freeform: Shape 1529">
            <a:extLst>
              <a:ext uri="{FF2B5EF4-FFF2-40B4-BE49-F238E27FC236}">
                <a16:creationId xmlns:a16="http://schemas.microsoft.com/office/drawing/2014/main" id="{804479DD-BEEE-E933-4BF9-8B13B79BCE23}"/>
              </a:ext>
            </a:extLst>
          </p:cNvPr>
          <p:cNvSpPr/>
          <p:nvPr/>
        </p:nvSpPr>
        <p:spPr>
          <a:xfrm>
            <a:off x="7493933" y="4182307"/>
            <a:ext cx="1341" cy="15308"/>
          </a:xfrm>
          <a:custGeom>
            <a:avLst/>
            <a:gdLst>
              <a:gd name="connsiteX0" fmla="*/ 1342 w 1341"/>
              <a:gd name="connsiteY0" fmla="*/ 0 h 15308"/>
              <a:gd name="connsiteX1" fmla="*/ 0 w 1341"/>
              <a:gd name="connsiteY1" fmla="*/ 15308 h 15308"/>
              <a:gd name="connsiteX2" fmla="*/ 1342 w 1341"/>
              <a:gd name="connsiteY2" fmla="*/ 0 h 15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41" h="15308">
                <a:moveTo>
                  <a:pt x="1342" y="0"/>
                </a:moveTo>
                <a:cubicBezTo>
                  <a:pt x="854" y="5123"/>
                  <a:pt x="366" y="10246"/>
                  <a:pt x="0" y="15308"/>
                </a:cubicBezTo>
                <a:cubicBezTo>
                  <a:pt x="366" y="10185"/>
                  <a:pt x="793" y="5062"/>
                  <a:pt x="1342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31" name="Freeform: Shape 1530">
            <a:extLst>
              <a:ext uri="{FF2B5EF4-FFF2-40B4-BE49-F238E27FC236}">
                <a16:creationId xmlns:a16="http://schemas.microsoft.com/office/drawing/2014/main" id="{79013994-7E9D-8C15-3754-E9EABA8B2D9A}"/>
              </a:ext>
            </a:extLst>
          </p:cNvPr>
          <p:cNvSpPr/>
          <p:nvPr/>
        </p:nvSpPr>
        <p:spPr>
          <a:xfrm>
            <a:off x="7495702" y="4159619"/>
            <a:ext cx="2256" cy="18296"/>
          </a:xfrm>
          <a:custGeom>
            <a:avLst/>
            <a:gdLst>
              <a:gd name="connsiteX0" fmla="*/ 2257 w 2256"/>
              <a:gd name="connsiteY0" fmla="*/ 0 h 18296"/>
              <a:gd name="connsiteX1" fmla="*/ 0 w 2256"/>
              <a:gd name="connsiteY1" fmla="*/ 18297 h 18296"/>
              <a:gd name="connsiteX2" fmla="*/ 2257 w 2256"/>
              <a:gd name="connsiteY2" fmla="*/ 0 h 18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56" h="18296">
                <a:moveTo>
                  <a:pt x="2257" y="0"/>
                </a:moveTo>
                <a:cubicBezTo>
                  <a:pt x="1403" y="6099"/>
                  <a:pt x="671" y="12198"/>
                  <a:pt x="0" y="18297"/>
                </a:cubicBezTo>
                <a:cubicBezTo>
                  <a:pt x="671" y="12198"/>
                  <a:pt x="1403" y="6099"/>
                  <a:pt x="2257" y="0"/>
                </a:cubicBezTo>
                <a:close/>
              </a:path>
            </a:pathLst>
          </a:custGeom>
          <a:solidFill>
            <a:srgbClr val="B7E5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32" name="Freeform: Shape 1531">
            <a:extLst>
              <a:ext uri="{FF2B5EF4-FFF2-40B4-BE49-F238E27FC236}">
                <a16:creationId xmlns:a16="http://schemas.microsoft.com/office/drawing/2014/main" id="{64680945-0B55-DDC0-61D5-1BA275AF6A1C}"/>
              </a:ext>
            </a:extLst>
          </p:cNvPr>
          <p:cNvSpPr/>
          <p:nvPr/>
        </p:nvSpPr>
        <p:spPr>
          <a:xfrm>
            <a:off x="5710792" y="3617028"/>
            <a:ext cx="2006175" cy="1933435"/>
          </a:xfrm>
          <a:custGeom>
            <a:avLst/>
            <a:gdLst>
              <a:gd name="connsiteX0" fmla="*/ 2006054 w 2006175"/>
              <a:gd name="connsiteY0" fmla="*/ 1298911 h 1933435"/>
              <a:gd name="connsiteX1" fmla="*/ 1940187 w 2006175"/>
              <a:gd name="connsiteY1" fmla="*/ 1035623 h 1933435"/>
              <a:gd name="connsiteX2" fmla="*/ 1929757 w 2006175"/>
              <a:gd name="connsiteY2" fmla="*/ 1015924 h 1933435"/>
              <a:gd name="connsiteX3" fmla="*/ 1930001 w 2006175"/>
              <a:gd name="connsiteY3" fmla="*/ 1015375 h 1933435"/>
              <a:gd name="connsiteX4" fmla="*/ 1917072 w 2006175"/>
              <a:gd name="connsiteY4" fmla="*/ 1000311 h 1933435"/>
              <a:gd name="connsiteX5" fmla="*/ 1913778 w 2006175"/>
              <a:gd name="connsiteY5" fmla="*/ 996347 h 1933435"/>
              <a:gd name="connsiteX6" fmla="*/ 1902678 w 2006175"/>
              <a:gd name="connsiteY6" fmla="*/ 982380 h 1933435"/>
              <a:gd name="connsiteX7" fmla="*/ 1901459 w 2006175"/>
              <a:gd name="connsiteY7" fmla="*/ 980794 h 1933435"/>
              <a:gd name="connsiteX8" fmla="*/ 1889932 w 2006175"/>
              <a:gd name="connsiteY8" fmla="*/ 965120 h 1933435"/>
              <a:gd name="connsiteX9" fmla="*/ 1887065 w 2006175"/>
              <a:gd name="connsiteY9" fmla="*/ 961034 h 1933435"/>
              <a:gd name="connsiteX10" fmla="*/ 1877734 w 2006175"/>
              <a:gd name="connsiteY10" fmla="*/ 947312 h 1933435"/>
              <a:gd name="connsiteX11" fmla="*/ 1875965 w 2006175"/>
              <a:gd name="connsiteY11" fmla="*/ 944628 h 1933435"/>
              <a:gd name="connsiteX12" fmla="*/ 1865841 w 2006175"/>
              <a:gd name="connsiteY12" fmla="*/ 928466 h 1933435"/>
              <a:gd name="connsiteX13" fmla="*/ 1863463 w 2006175"/>
              <a:gd name="connsiteY13" fmla="*/ 924441 h 1933435"/>
              <a:gd name="connsiteX14" fmla="*/ 1855534 w 2006175"/>
              <a:gd name="connsiteY14" fmla="*/ 910657 h 1933435"/>
              <a:gd name="connsiteX15" fmla="*/ 1853583 w 2006175"/>
              <a:gd name="connsiteY15" fmla="*/ 907242 h 1933435"/>
              <a:gd name="connsiteX16" fmla="*/ 1844800 w 2006175"/>
              <a:gd name="connsiteY16" fmla="*/ 890531 h 1933435"/>
              <a:gd name="connsiteX17" fmla="*/ 1842910 w 2006175"/>
              <a:gd name="connsiteY17" fmla="*/ 886689 h 1933435"/>
              <a:gd name="connsiteX18" fmla="*/ 1836140 w 2006175"/>
              <a:gd name="connsiteY18" fmla="*/ 872601 h 1933435"/>
              <a:gd name="connsiteX19" fmla="*/ 1834249 w 2006175"/>
              <a:gd name="connsiteY19" fmla="*/ 868575 h 1933435"/>
              <a:gd name="connsiteX20" fmla="*/ 1826748 w 2006175"/>
              <a:gd name="connsiteY20" fmla="*/ 851438 h 1933435"/>
              <a:gd name="connsiteX21" fmla="*/ 1825345 w 2006175"/>
              <a:gd name="connsiteY21" fmla="*/ 848022 h 1933435"/>
              <a:gd name="connsiteX22" fmla="*/ 1819551 w 2006175"/>
              <a:gd name="connsiteY22" fmla="*/ 833324 h 1933435"/>
              <a:gd name="connsiteX23" fmla="*/ 1817904 w 2006175"/>
              <a:gd name="connsiteY23" fmla="*/ 828933 h 1933435"/>
              <a:gd name="connsiteX24" fmla="*/ 1811684 w 2006175"/>
              <a:gd name="connsiteY24" fmla="*/ 811368 h 1933435"/>
              <a:gd name="connsiteX25" fmla="*/ 1810830 w 2006175"/>
              <a:gd name="connsiteY25" fmla="*/ 808746 h 1933435"/>
              <a:gd name="connsiteX26" fmla="*/ 1805951 w 2006175"/>
              <a:gd name="connsiteY26" fmla="*/ 793193 h 1933435"/>
              <a:gd name="connsiteX27" fmla="*/ 1804609 w 2006175"/>
              <a:gd name="connsiteY27" fmla="*/ 788558 h 1933435"/>
              <a:gd name="connsiteX28" fmla="*/ 1799730 w 2006175"/>
              <a:gd name="connsiteY28" fmla="*/ 770628 h 1933435"/>
              <a:gd name="connsiteX29" fmla="*/ 1799364 w 2006175"/>
              <a:gd name="connsiteY29" fmla="*/ 769225 h 1933435"/>
              <a:gd name="connsiteX30" fmla="*/ 1795399 w 2006175"/>
              <a:gd name="connsiteY30" fmla="*/ 752331 h 1933435"/>
              <a:gd name="connsiteX31" fmla="*/ 1794363 w 2006175"/>
              <a:gd name="connsiteY31" fmla="*/ 747574 h 1933435"/>
              <a:gd name="connsiteX32" fmla="*/ 1790886 w 2006175"/>
              <a:gd name="connsiteY32" fmla="*/ 729948 h 1933435"/>
              <a:gd name="connsiteX33" fmla="*/ 1790765 w 2006175"/>
              <a:gd name="connsiteY33" fmla="*/ 729217 h 1933435"/>
              <a:gd name="connsiteX34" fmla="*/ 1789301 w 2006175"/>
              <a:gd name="connsiteY34" fmla="*/ 720312 h 1933435"/>
              <a:gd name="connsiteX35" fmla="*/ 1787837 w 2006175"/>
              <a:gd name="connsiteY35" fmla="*/ 710859 h 1933435"/>
              <a:gd name="connsiteX36" fmla="*/ 1787166 w 2006175"/>
              <a:gd name="connsiteY36" fmla="*/ 706041 h 1933435"/>
              <a:gd name="connsiteX37" fmla="*/ 1785153 w 2006175"/>
              <a:gd name="connsiteY37" fmla="*/ 689696 h 1933435"/>
              <a:gd name="connsiteX38" fmla="*/ 1784910 w 2006175"/>
              <a:gd name="connsiteY38" fmla="*/ 687317 h 1933435"/>
              <a:gd name="connsiteX39" fmla="*/ 1783263 w 2006175"/>
              <a:gd name="connsiteY39" fmla="*/ 668960 h 1933435"/>
              <a:gd name="connsiteX40" fmla="*/ 1782958 w 2006175"/>
              <a:gd name="connsiteY40" fmla="*/ 664264 h 1933435"/>
              <a:gd name="connsiteX41" fmla="*/ 1782104 w 2006175"/>
              <a:gd name="connsiteY41" fmla="*/ 648590 h 1933435"/>
              <a:gd name="connsiteX42" fmla="*/ 1781982 w 2006175"/>
              <a:gd name="connsiteY42" fmla="*/ 645235 h 1933435"/>
              <a:gd name="connsiteX43" fmla="*/ 1781616 w 2006175"/>
              <a:gd name="connsiteY43" fmla="*/ 626878 h 1933435"/>
              <a:gd name="connsiteX44" fmla="*/ 1781616 w 2006175"/>
              <a:gd name="connsiteY44" fmla="*/ 622425 h 1933435"/>
              <a:gd name="connsiteX45" fmla="*/ 1781860 w 2006175"/>
              <a:gd name="connsiteY45" fmla="*/ 607056 h 1933435"/>
              <a:gd name="connsiteX46" fmla="*/ 1781982 w 2006175"/>
              <a:gd name="connsiteY46" fmla="*/ 603031 h 1933435"/>
              <a:gd name="connsiteX47" fmla="*/ 1782958 w 2006175"/>
              <a:gd name="connsiteY47" fmla="*/ 584674 h 1933435"/>
              <a:gd name="connsiteX48" fmla="*/ 1783263 w 2006175"/>
              <a:gd name="connsiteY48" fmla="*/ 580709 h 1933435"/>
              <a:gd name="connsiteX49" fmla="*/ 1784605 w 2006175"/>
              <a:gd name="connsiteY49" fmla="*/ 565401 h 1933435"/>
              <a:gd name="connsiteX50" fmla="*/ 1785032 w 2006175"/>
              <a:gd name="connsiteY50" fmla="*/ 561010 h 1933435"/>
              <a:gd name="connsiteX51" fmla="*/ 1787288 w 2006175"/>
              <a:gd name="connsiteY51" fmla="*/ 542714 h 1933435"/>
              <a:gd name="connsiteX52" fmla="*/ 1787776 w 2006175"/>
              <a:gd name="connsiteY52" fmla="*/ 539359 h 1933435"/>
              <a:gd name="connsiteX53" fmla="*/ 1790215 w 2006175"/>
              <a:gd name="connsiteY53" fmla="*/ 523868 h 1933435"/>
              <a:gd name="connsiteX54" fmla="*/ 1791008 w 2006175"/>
              <a:gd name="connsiteY54" fmla="*/ 519233 h 1933435"/>
              <a:gd name="connsiteX55" fmla="*/ 1794546 w 2006175"/>
              <a:gd name="connsiteY55" fmla="*/ 501058 h 1933435"/>
              <a:gd name="connsiteX56" fmla="*/ 1795094 w 2006175"/>
              <a:gd name="connsiteY56" fmla="*/ 498741 h 1933435"/>
              <a:gd name="connsiteX57" fmla="*/ 1798815 w 2006175"/>
              <a:gd name="connsiteY57" fmla="*/ 482640 h 1933435"/>
              <a:gd name="connsiteX58" fmla="*/ 1799974 w 2006175"/>
              <a:gd name="connsiteY58" fmla="*/ 477944 h 1933435"/>
              <a:gd name="connsiteX59" fmla="*/ 1804792 w 2006175"/>
              <a:gd name="connsiteY59" fmla="*/ 459891 h 1933435"/>
              <a:gd name="connsiteX60" fmla="*/ 1805036 w 2006175"/>
              <a:gd name="connsiteY60" fmla="*/ 459159 h 1933435"/>
              <a:gd name="connsiteX61" fmla="*/ 1810281 w 2006175"/>
              <a:gd name="connsiteY61" fmla="*/ 441960 h 1933435"/>
              <a:gd name="connsiteX62" fmla="*/ 1811805 w 2006175"/>
              <a:gd name="connsiteY62" fmla="*/ 437264 h 1933435"/>
              <a:gd name="connsiteX63" fmla="*/ 1817477 w 2006175"/>
              <a:gd name="connsiteY63" fmla="*/ 420736 h 1933435"/>
              <a:gd name="connsiteX64" fmla="*/ 1817965 w 2006175"/>
              <a:gd name="connsiteY64" fmla="*/ 419456 h 1933435"/>
              <a:gd name="connsiteX65" fmla="*/ 1824674 w 2006175"/>
              <a:gd name="connsiteY65" fmla="*/ 401952 h 1933435"/>
              <a:gd name="connsiteX66" fmla="*/ 1826504 w 2006175"/>
              <a:gd name="connsiteY66" fmla="*/ 397439 h 1933435"/>
              <a:gd name="connsiteX67" fmla="*/ 1832907 w 2006175"/>
              <a:gd name="connsiteY67" fmla="*/ 382375 h 1933435"/>
              <a:gd name="connsiteX68" fmla="*/ 1833761 w 2006175"/>
              <a:gd name="connsiteY68" fmla="*/ 380423 h 1933435"/>
              <a:gd name="connsiteX69" fmla="*/ 1834005 w 2006175"/>
              <a:gd name="connsiteY69" fmla="*/ 379935 h 1933435"/>
              <a:gd name="connsiteX70" fmla="*/ 1844312 w 2006175"/>
              <a:gd name="connsiteY70" fmla="*/ 358162 h 1933435"/>
              <a:gd name="connsiteX71" fmla="*/ 1845776 w 2006175"/>
              <a:gd name="connsiteY71" fmla="*/ 355174 h 1933435"/>
              <a:gd name="connsiteX72" fmla="*/ 1856754 w 2006175"/>
              <a:gd name="connsiteY72" fmla="*/ 334377 h 1933435"/>
              <a:gd name="connsiteX73" fmla="*/ 1858644 w 2006175"/>
              <a:gd name="connsiteY73" fmla="*/ 330961 h 1933435"/>
              <a:gd name="connsiteX74" fmla="*/ 1870537 w 2006175"/>
              <a:gd name="connsiteY74" fmla="*/ 310774 h 1933435"/>
              <a:gd name="connsiteX75" fmla="*/ 1872611 w 2006175"/>
              <a:gd name="connsiteY75" fmla="*/ 307481 h 1933435"/>
              <a:gd name="connsiteX76" fmla="*/ 1885602 w 2006175"/>
              <a:gd name="connsiteY76" fmla="*/ 287476 h 1933435"/>
              <a:gd name="connsiteX77" fmla="*/ 1887431 w 2006175"/>
              <a:gd name="connsiteY77" fmla="*/ 284793 h 1933435"/>
              <a:gd name="connsiteX78" fmla="*/ 1901886 w 2006175"/>
              <a:gd name="connsiteY78" fmla="*/ 264606 h 1933435"/>
              <a:gd name="connsiteX79" fmla="*/ 1902861 w 2006175"/>
              <a:gd name="connsiteY79" fmla="*/ 263325 h 1933435"/>
              <a:gd name="connsiteX80" fmla="*/ 1918535 w 2006175"/>
              <a:gd name="connsiteY80" fmla="*/ 243443 h 1933435"/>
              <a:gd name="connsiteX81" fmla="*/ 1919450 w 2006175"/>
              <a:gd name="connsiteY81" fmla="*/ 242284 h 1933435"/>
              <a:gd name="connsiteX82" fmla="*/ 1935978 w 2006175"/>
              <a:gd name="connsiteY82" fmla="*/ 223194 h 1933435"/>
              <a:gd name="connsiteX83" fmla="*/ 1938113 w 2006175"/>
              <a:gd name="connsiteY83" fmla="*/ 220755 h 1933435"/>
              <a:gd name="connsiteX84" fmla="*/ 1951957 w 2006175"/>
              <a:gd name="connsiteY84" fmla="*/ 206057 h 1933435"/>
              <a:gd name="connsiteX85" fmla="*/ 1950798 w 2006175"/>
              <a:gd name="connsiteY85" fmla="*/ 207154 h 1933435"/>
              <a:gd name="connsiteX86" fmla="*/ 1942199 w 2006175"/>
              <a:gd name="connsiteY86" fmla="*/ 207459 h 1933435"/>
              <a:gd name="connsiteX87" fmla="*/ 594352 w 2006175"/>
              <a:gd name="connsiteY87" fmla="*/ 207459 h 1933435"/>
              <a:gd name="connsiteX88" fmla="*/ 594352 w 2006175"/>
              <a:gd name="connsiteY88" fmla="*/ 98 h 1933435"/>
              <a:gd name="connsiteX89" fmla="*/ 219272 w 2006175"/>
              <a:gd name="connsiteY89" fmla="*/ 98 h 1933435"/>
              <a:gd name="connsiteX90" fmla="*/ 33440 w 2006175"/>
              <a:gd name="connsiteY90" fmla="*/ 82433 h 1933435"/>
              <a:gd name="connsiteX91" fmla="*/ 32281 w 2006175"/>
              <a:gd name="connsiteY91" fmla="*/ 84262 h 1933435"/>
              <a:gd name="connsiteX92" fmla="*/ 5751 w 2006175"/>
              <a:gd name="connsiteY92" fmla="*/ 280646 h 1933435"/>
              <a:gd name="connsiteX93" fmla="*/ 5751 w 2006175"/>
              <a:gd name="connsiteY93" fmla="*/ 1927337 h 1933435"/>
              <a:gd name="connsiteX94" fmla="*/ 5629 w 2006175"/>
              <a:gd name="connsiteY94" fmla="*/ 1933436 h 1933435"/>
              <a:gd name="connsiteX95" fmla="*/ 1387142 w 2006175"/>
              <a:gd name="connsiteY95" fmla="*/ 1933436 h 1933435"/>
              <a:gd name="connsiteX96" fmla="*/ 2006176 w 2006175"/>
              <a:gd name="connsiteY96" fmla="*/ 1314402 h 1933435"/>
              <a:gd name="connsiteX97" fmla="*/ 2005932 w 2006175"/>
              <a:gd name="connsiteY97" fmla="*/ 1299155 h 1933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</a:cxnLst>
            <a:rect l="l" t="t" r="r" b="b"/>
            <a:pathLst>
              <a:path w="2006175" h="1933435">
                <a:moveTo>
                  <a:pt x="2006054" y="1298911"/>
                </a:moveTo>
                <a:cubicBezTo>
                  <a:pt x="2003736" y="1204378"/>
                  <a:pt x="1980317" y="1115091"/>
                  <a:pt x="1940187" y="1035623"/>
                </a:cubicBezTo>
                <a:cubicBezTo>
                  <a:pt x="1936832" y="1028975"/>
                  <a:pt x="1933355" y="1022389"/>
                  <a:pt x="1929757" y="1015924"/>
                </a:cubicBezTo>
                <a:lnTo>
                  <a:pt x="1930001" y="1015375"/>
                </a:lnTo>
                <a:cubicBezTo>
                  <a:pt x="1925549" y="1010435"/>
                  <a:pt x="1921280" y="1005373"/>
                  <a:pt x="1917072" y="1000311"/>
                </a:cubicBezTo>
                <a:cubicBezTo>
                  <a:pt x="1915974" y="998969"/>
                  <a:pt x="1914876" y="997688"/>
                  <a:pt x="1913778" y="996347"/>
                </a:cubicBezTo>
                <a:cubicBezTo>
                  <a:pt x="1909997" y="991711"/>
                  <a:pt x="1906277" y="987076"/>
                  <a:pt x="1902678" y="982380"/>
                </a:cubicBezTo>
                <a:cubicBezTo>
                  <a:pt x="1902251" y="981831"/>
                  <a:pt x="1901824" y="981343"/>
                  <a:pt x="1901459" y="980794"/>
                </a:cubicBezTo>
                <a:cubicBezTo>
                  <a:pt x="1897495" y="975610"/>
                  <a:pt x="1893713" y="970426"/>
                  <a:pt x="1889932" y="965120"/>
                </a:cubicBezTo>
                <a:cubicBezTo>
                  <a:pt x="1888956" y="963778"/>
                  <a:pt x="1888041" y="962437"/>
                  <a:pt x="1887065" y="961034"/>
                </a:cubicBezTo>
                <a:cubicBezTo>
                  <a:pt x="1883894" y="956521"/>
                  <a:pt x="1880783" y="951947"/>
                  <a:pt x="1877734" y="947312"/>
                </a:cubicBezTo>
                <a:cubicBezTo>
                  <a:pt x="1877124" y="946397"/>
                  <a:pt x="1876514" y="945543"/>
                  <a:pt x="1875965" y="944628"/>
                </a:cubicBezTo>
                <a:cubicBezTo>
                  <a:pt x="1872489" y="939261"/>
                  <a:pt x="1869135" y="933894"/>
                  <a:pt x="1865841" y="928466"/>
                </a:cubicBezTo>
                <a:cubicBezTo>
                  <a:pt x="1865049" y="927124"/>
                  <a:pt x="1864256" y="925783"/>
                  <a:pt x="1863463" y="924441"/>
                </a:cubicBezTo>
                <a:cubicBezTo>
                  <a:pt x="1860718" y="919867"/>
                  <a:pt x="1858096" y="915293"/>
                  <a:pt x="1855534" y="910657"/>
                </a:cubicBezTo>
                <a:cubicBezTo>
                  <a:pt x="1854924" y="909499"/>
                  <a:pt x="1854253" y="908401"/>
                  <a:pt x="1853583" y="907242"/>
                </a:cubicBezTo>
                <a:cubicBezTo>
                  <a:pt x="1850533" y="901692"/>
                  <a:pt x="1847606" y="896142"/>
                  <a:pt x="1844800" y="890531"/>
                </a:cubicBezTo>
                <a:cubicBezTo>
                  <a:pt x="1844130" y="889250"/>
                  <a:pt x="1843519" y="887970"/>
                  <a:pt x="1842910" y="886689"/>
                </a:cubicBezTo>
                <a:cubicBezTo>
                  <a:pt x="1840592" y="881993"/>
                  <a:pt x="1838336" y="877297"/>
                  <a:pt x="1836140" y="872601"/>
                </a:cubicBezTo>
                <a:cubicBezTo>
                  <a:pt x="1835530" y="871259"/>
                  <a:pt x="1834859" y="869917"/>
                  <a:pt x="1834249" y="868575"/>
                </a:cubicBezTo>
                <a:cubicBezTo>
                  <a:pt x="1831688" y="862904"/>
                  <a:pt x="1829187" y="857171"/>
                  <a:pt x="1826748" y="851438"/>
                </a:cubicBezTo>
                <a:cubicBezTo>
                  <a:pt x="1826260" y="850279"/>
                  <a:pt x="1825833" y="849181"/>
                  <a:pt x="1825345" y="848022"/>
                </a:cubicBezTo>
                <a:cubicBezTo>
                  <a:pt x="1823332" y="843143"/>
                  <a:pt x="1821442" y="838264"/>
                  <a:pt x="1819551" y="833324"/>
                </a:cubicBezTo>
                <a:cubicBezTo>
                  <a:pt x="1819002" y="831860"/>
                  <a:pt x="1818453" y="830397"/>
                  <a:pt x="1817904" y="828933"/>
                </a:cubicBezTo>
                <a:cubicBezTo>
                  <a:pt x="1815770" y="823078"/>
                  <a:pt x="1813696" y="817223"/>
                  <a:pt x="1811684" y="811368"/>
                </a:cubicBezTo>
                <a:cubicBezTo>
                  <a:pt x="1811378" y="810514"/>
                  <a:pt x="1811135" y="809599"/>
                  <a:pt x="1810830" y="808746"/>
                </a:cubicBezTo>
                <a:cubicBezTo>
                  <a:pt x="1809122" y="803562"/>
                  <a:pt x="1807536" y="798378"/>
                  <a:pt x="1805951" y="793193"/>
                </a:cubicBezTo>
                <a:cubicBezTo>
                  <a:pt x="1805463" y="791669"/>
                  <a:pt x="1805036" y="790083"/>
                  <a:pt x="1804609" y="788558"/>
                </a:cubicBezTo>
                <a:cubicBezTo>
                  <a:pt x="1802901" y="782581"/>
                  <a:pt x="1801254" y="776605"/>
                  <a:pt x="1799730" y="770628"/>
                </a:cubicBezTo>
                <a:cubicBezTo>
                  <a:pt x="1799608" y="770140"/>
                  <a:pt x="1799486" y="769652"/>
                  <a:pt x="1799364" y="769225"/>
                </a:cubicBezTo>
                <a:cubicBezTo>
                  <a:pt x="1797961" y="763614"/>
                  <a:pt x="1796619" y="758003"/>
                  <a:pt x="1795399" y="752331"/>
                </a:cubicBezTo>
                <a:cubicBezTo>
                  <a:pt x="1795033" y="750745"/>
                  <a:pt x="1794729" y="749160"/>
                  <a:pt x="1794363" y="747574"/>
                </a:cubicBezTo>
                <a:cubicBezTo>
                  <a:pt x="1793143" y="741719"/>
                  <a:pt x="1791923" y="735864"/>
                  <a:pt x="1790886" y="729948"/>
                </a:cubicBezTo>
                <a:cubicBezTo>
                  <a:pt x="1790886" y="729705"/>
                  <a:pt x="1790765" y="729461"/>
                  <a:pt x="1790765" y="729217"/>
                </a:cubicBezTo>
                <a:cubicBezTo>
                  <a:pt x="1790215" y="726228"/>
                  <a:pt x="1789789" y="723301"/>
                  <a:pt x="1789301" y="720312"/>
                </a:cubicBezTo>
                <a:cubicBezTo>
                  <a:pt x="1788813" y="717141"/>
                  <a:pt x="1788325" y="714030"/>
                  <a:pt x="1787837" y="710859"/>
                </a:cubicBezTo>
                <a:cubicBezTo>
                  <a:pt x="1787593" y="709273"/>
                  <a:pt x="1787349" y="707626"/>
                  <a:pt x="1787166" y="706041"/>
                </a:cubicBezTo>
                <a:cubicBezTo>
                  <a:pt x="1786434" y="700613"/>
                  <a:pt x="1785702" y="695185"/>
                  <a:pt x="1785153" y="689696"/>
                </a:cubicBezTo>
                <a:cubicBezTo>
                  <a:pt x="1785092" y="688903"/>
                  <a:pt x="1784971" y="688110"/>
                  <a:pt x="1784910" y="687317"/>
                </a:cubicBezTo>
                <a:cubicBezTo>
                  <a:pt x="1784239" y="681219"/>
                  <a:pt x="1783751" y="675059"/>
                  <a:pt x="1783263" y="668960"/>
                </a:cubicBezTo>
                <a:cubicBezTo>
                  <a:pt x="1783141" y="667374"/>
                  <a:pt x="1783019" y="665849"/>
                  <a:pt x="1782958" y="664264"/>
                </a:cubicBezTo>
                <a:cubicBezTo>
                  <a:pt x="1782592" y="659080"/>
                  <a:pt x="1782348" y="653835"/>
                  <a:pt x="1782104" y="648590"/>
                </a:cubicBezTo>
                <a:cubicBezTo>
                  <a:pt x="1782104" y="647492"/>
                  <a:pt x="1781982" y="646333"/>
                  <a:pt x="1781982" y="645235"/>
                </a:cubicBezTo>
                <a:cubicBezTo>
                  <a:pt x="1781799" y="639136"/>
                  <a:pt x="1781677" y="632977"/>
                  <a:pt x="1781616" y="626878"/>
                </a:cubicBezTo>
                <a:cubicBezTo>
                  <a:pt x="1781616" y="625414"/>
                  <a:pt x="1781616" y="623950"/>
                  <a:pt x="1781616" y="622425"/>
                </a:cubicBezTo>
                <a:cubicBezTo>
                  <a:pt x="1781616" y="617302"/>
                  <a:pt x="1781738" y="612179"/>
                  <a:pt x="1781860" y="607056"/>
                </a:cubicBezTo>
                <a:cubicBezTo>
                  <a:pt x="1781860" y="605715"/>
                  <a:pt x="1781921" y="604373"/>
                  <a:pt x="1781982" y="603031"/>
                </a:cubicBezTo>
                <a:cubicBezTo>
                  <a:pt x="1782226" y="596932"/>
                  <a:pt x="1782531" y="590773"/>
                  <a:pt x="1782958" y="584674"/>
                </a:cubicBezTo>
                <a:cubicBezTo>
                  <a:pt x="1783019" y="583332"/>
                  <a:pt x="1783141" y="582051"/>
                  <a:pt x="1783263" y="580709"/>
                </a:cubicBezTo>
                <a:cubicBezTo>
                  <a:pt x="1783629" y="575586"/>
                  <a:pt x="1784056" y="570463"/>
                  <a:pt x="1784605" y="565401"/>
                </a:cubicBezTo>
                <a:cubicBezTo>
                  <a:pt x="1784726" y="563937"/>
                  <a:pt x="1784910" y="562474"/>
                  <a:pt x="1785032" y="561010"/>
                </a:cubicBezTo>
                <a:cubicBezTo>
                  <a:pt x="1785702" y="554911"/>
                  <a:pt x="1786434" y="548812"/>
                  <a:pt x="1787288" y="542714"/>
                </a:cubicBezTo>
                <a:cubicBezTo>
                  <a:pt x="1787471" y="541616"/>
                  <a:pt x="1787593" y="540518"/>
                  <a:pt x="1787776" y="539359"/>
                </a:cubicBezTo>
                <a:cubicBezTo>
                  <a:pt x="1788508" y="534175"/>
                  <a:pt x="1789362" y="528991"/>
                  <a:pt x="1790215" y="523868"/>
                </a:cubicBezTo>
                <a:cubicBezTo>
                  <a:pt x="1790459" y="522343"/>
                  <a:pt x="1790765" y="520758"/>
                  <a:pt x="1791008" y="519233"/>
                </a:cubicBezTo>
                <a:cubicBezTo>
                  <a:pt x="1792106" y="513195"/>
                  <a:pt x="1793265" y="507096"/>
                  <a:pt x="1794546" y="501058"/>
                </a:cubicBezTo>
                <a:cubicBezTo>
                  <a:pt x="1794729" y="500265"/>
                  <a:pt x="1794912" y="499473"/>
                  <a:pt x="1795094" y="498741"/>
                </a:cubicBezTo>
                <a:cubicBezTo>
                  <a:pt x="1796253" y="493374"/>
                  <a:pt x="1797473" y="488007"/>
                  <a:pt x="1798815" y="482640"/>
                </a:cubicBezTo>
                <a:cubicBezTo>
                  <a:pt x="1799181" y="481054"/>
                  <a:pt x="1799608" y="479468"/>
                  <a:pt x="1799974" y="477944"/>
                </a:cubicBezTo>
                <a:cubicBezTo>
                  <a:pt x="1801498" y="471906"/>
                  <a:pt x="1803084" y="465868"/>
                  <a:pt x="1804792" y="459891"/>
                </a:cubicBezTo>
                <a:cubicBezTo>
                  <a:pt x="1804853" y="459647"/>
                  <a:pt x="1804914" y="459403"/>
                  <a:pt x="1805036" y="459159"/>
                </a:cubicBezTo>
                <a:cubicBezTo>
                  <a:pt x="1806682" y="453365"/>
                  <a:pt x="1808451" y="447632"/>
                  <a:pt x="1810281" y="441960"/>
                </a:cubicBezTo>
                <a:cubicBezTo>
                  <a:pt x="1810769" y="440375"/>
                  <a:pt x="1811318" y="438850"/>
                  <a:pt x="1811805" y="437264"/>
                </a:cubicBezTo>
                <a:cubicBezTo>
                  <a:pt x="1813635" y="431714"/>
                  <a:pt x="1815526" y="426225"/>
                  <a:pt x="1817477" y="420736"/>
                </a:cubicBezTo>
                <a:cubicBezTo>
                  <a:pt x="1817660" y="420309"/>
                  <a:pt x="1817782" y="419882"/>
                  <a:pt x="1817965" y="419456"/>
                </a:cubicBezTo>
                <a:cubicBezTo>
                  <a:pt x="1820100" y="413601"/>
                  <a:pt x="1822357" y="407746"/>
                  <a:pt x="1824674" y="401952"/>
                </a:cubicBezTo>
                <a:cubicBezTo>
                  <a:pt x="1825284" y="400427"/>
                  <a:pt x="1825894" y="398963"/>
                  <a:pt x="1826504" y="397439"/>
                </a:cubicBezTo>
                <a:cubicBezTo>
                  <a:pt x="1828577" y="392377"/>
                  <a:pt x="1830712" y="387376"/>
                  <a:pt x="1832907" y="382375"/>
                </a:cubicBezTo>
                <a:cubicBezTo>
                  <a:pt x="1833212" y="381704"/>
                  <a:pt x="1833457" y="381033"/>
                  <a:pt x="1833761" y="380423"/>
                </a:cubicBezTo>
                <a:cubicBezTo>
                  <a:pt x="1833822" y="380240"/>
                  <a:pt x="1833944" y="380057"/>
                  <a:pt x="1834005" y="379935"/>
                </a:cubicBezTo>
                <a:cubicBezTo>
                  <a:pt x="1837298" y="372616"/>
                  <a:pt x="1840714" y="365359"/>
                  <a:pt x="1844312" y="358162"/>
                </a:cubicBezTo>
                <a:cubicBezTo>
                  <a:pt x="1844800" y="357186"/>
                  <a:pt x="1845288" y="356150"/>
                  <a:pt x="1845776" y="355174"/>
                </a:cubicBezTo>
                <a:cubicBezTo>
                  <a:pt x="1849313" y="348160"/>
                  <a:pt x="1852973" y="341268"/>
                  <a:pt x="1856754" y="334377"/>
                </a:cubicBezTo>
                <a:cubicBezTo>
                  <a:pt x="1857364" y="333218"/>
                  <a:pt x="1858035" y="332120"/>
                  <a:pt x="1858644" y="330961"/>
                </a:cubicBezTo>
                <a:cubicBezTo>
                  <a:pt x="1862487" y="324191"/>
                  <a:pt x="1866451" y="317422"/>
                  <a:pt x="1870537" y="310774"/>
                </a:cubicBezTo>
                <a:cubicBezTo>
                  <a:pt x="1871208" y="309676"/>
                  <a:pt x="1871879" y="308578"/>
                  <a:pt x="1872611" y="307481"/>
                </a:cubicBezTo>
                <a:cubicBezTo>
                  <a:pt x="1876819" y="300772"/>
                  <a:pt x="1881149" y="294063"/>
                  <a:pt x="1885602" y="287476"/>
                </a:cubicBezTo>
                <a:cubicBezTo>
                  <a:pt x="1886211" y="286562"/>
                  <a:pt x="1886822" y="285708"/>
                  <a:pt x="1887431" y="284793"/>
                </a:cubicBezTo>
                <a:cubicBezTo>
                  <a:pt x="1892127" y="277962"/>
                  <a:pt x="1896945" y="271253"/>
                  <a:pt x="1901886" y="264606"/>
                </a:cubicBezTo>
                <a:cubicBezTo>
                  <a:pt x="1902190" y="264179"/>
                  <a:pt x="1902556" y="263752"/>
                  <a:pt x="1902861" y="263325"/>
                </a:cubicBezTo>
                <a:cubicBezTo>
                  <a:pt x="1907923" y="256616"/>
                  <a:pt x="1913168" y="249968"/>
                  <a:pt x="1918535" y="243443"/>
                </a:cubicBezTo>
                <a:cubicBezTo>
                  <a:pt x="1918841" y="243077"/>
                  <a:pt x="1919145" y="242711"/>
                  <a:pt x="1919450" y="242284"/>
                </a:cubicBezTo>
                <a:cubicBezTo>
                  <a:pt x="1924817" y="235819"/>
                  <a:pt x="1930367" y="229476"/>
                  <a:pt x="1935978" y="223194"/>
                </a:cubicBezTo>
                <a:cubicBezTo>
                  <a:pt x="1936710" y="222401"/>
                  <a:pt x="1937442" y="221609"/>
                  <a:pt x="1938113" y="220755"/>
                </a:cubicBezTo>
                <a:cubicBezTo>
                  <a:pt x="1942626" y="215815"/>
                  <a:pt x="1947261" y="210875"/>
                  <a:pt x="1951957" y="206057"/>
                </a:cubicBezTo>
                <a:cubicBezTo>
                  <a:pt x="1951591" y="206422"/>
                  <a:pt x="1951225" y="206788"/>
                  <a:pt x="1950798" y="207154"/>
                </a:cubicBezTo>
                <a:lnTo>
                  <a:pt x="1942199" y="207459"/>
                </a:lnTo>
                <a:lnTo>
                  <a:pt x="594352" y="207459"/>
                </a:lnTo>
                <a:lnTo>
                  <a:pt x="594352" y="98"/>
                </a:lnTo>
                <a:lnTo>
                  <a:pt x="219272" y="98"/>
                </a:lnTo>
                <a:cubicBezTo>
                  <a:pt x="119007" y="-2158"/>
                  <a:pt x="63507" y="34740"/>
                  <a:pt x="33440" y="82433"/>
                </a:cubicBezTo>
                <a:cubicBezTo>
                  <a:pt x="33074" y="83043"/>
                  <a:pt x="32708" y="83652"/>
                  <a:pt x="32281" y="84262"/>
                </a:cubicBezTo>
                <a:cubicBezTo>
                  <a:pt x="-18400" y="166902"/>
                  <a:pt x="5751" y="280646"/>
                  <a:pt x="5751" y="280646"/>
                </a:cubicBezTo>
                <a:lnTo>
                  <a:pt x="5751" y="1927337"/>
                </a:lnTo>
                <a:cubicBezTo>
                  <a:pt x="5751" y="1927337"/>
                  <a:pt x="5629" y="1933314"/>
                  <a:pt x="5629" y="1933436"/>
                </a:cubicBezTo>
                <a:lnTo>
                  <a:pt x="1387142" y="1933436"/>
                </a:lnTo>
                <a:cubicBezTo>
                  <a:pt x="1729044" y="1933436"/>
                  <a:pt x="2006176" y="1656304"/>
                  <a:pt x="2006176" y="1314402"/>
                </a:cubicBezTo>
                <a:cubicBezTo>
                  <a:pt x="2006176" y="1309279"/>
                  <a:pt x="2006054" y="1304217"/>
                  <a:pt x="2005932" y="1299155"/>
                </a:cubicBezTo>
                <a:close/>
              </a:path>
            </a:pathLst>
          </a:custGeom>
          <a:solidFill>
            <a:srgbClr val="0C3CD6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33" name="Freeform: Shape 1532">
            <a:extLst>
              <a:ext uri="{FF2B5EF4-FFF2-40B4-BE49-F238E27FC236}">
                <a16:creationId xmlns:a16="http://schemas.microsoft.com/office/drawing/2014/main" id="{71D1425F-C321-14BB-3194-A1BED67DEA69}"/>
              </a:ext>
            </a:extLst>
          </p:cNvPr>
          <p:cNvSpPr/>
          <p:nvPr/>
        </p:nvSpPr>
        <p:spPr>
          <a:xfrm>
            <a:off x="3167405" y="4931186"/>
            <a:ext cx="1225199" cy="625132"/>
          </a:xfrm>
          <a:custGeom>
            <a:avLst/>
            <a:gdLst>
              <a:gd name="connsiteX0" fmla="*/ 626657 w 1225199"/>
              <a:gd name="connsiteY0" fmla="*/ 625133 h 625132"/>
              <a:gd name="connsiteX1" fmla="*/ 1225199 w 1225199"/>
              <a:gd name="connsiteY1" fmla="*/ 625133 h 625132"/>
              <a:gd name="connsiteX2" fmla="*/ 1225199 w 1225199"/>
              <a:gd name="connsiteY2" fmla="*/ 624523 h 625132"/>
              <a:gd name="connsiteX3" fmla="*/ 1082547 w 1225199"/>
              <a:gd name="connsiteY3" fmla="*/ 624523 h 625132"/>
              <a:gd name="connsiteX4" fmla="*/ 1082547 w 1225199"/>
              <a:gd name="connsiteY4" fmla="*/ 619034 h 625132"/>
              <a:gd name="connsiteX5" fmla="*/ 619034 w 1225199"/>
              <a:gd name="connsiteY5" fmla="*/ 619034 h 625132"/>
              <a:gd name="connsiteX6" fmla="*/ 0 w 1225199"/>
              <a:gd name="connsiteY6" fmla="*/ 0 h 625132"/>
              <a:gd name="connsiteX7" fmla="*/ 0 w 1225199"/>
              <a:gd name="connsiteY7" fmla="*/ 80200 h 625132"/>
              <a:gd name="connsiteX8" fmla="*/ 626719 w 1225199"/>
              <a:gd name="connsiteY8" fmla="*/ 625133 h 625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5199" h="625132">
                <a:moveTo>
                  <a:pt x="626657" y="625133"/>
                </a:moveTo>
                <a:lnTo>
                  <a:pt x="1225199" y="625133"/>
                </a:lnTo>
                <a:lnTo>
                  <a:pt x="1225199" y="624523"/>
                </a:lnTo>
                <a:cubicBezTo>
                  <a:pt x="1225199" y="624523"/>
                  <a:pt x="1082547" y="624523"/>
                  <a:pt x="1082547" y="624523"/>
                </a:cubicBezTo>
                <a:lnTo>
                  <a:pt x="1082547" y="619034"/>
                </a:lnTo>
                <a:lnTo>
                  <a:pt x="619034" y="619034"/>
                </a:lnTo>
                <a:cubicBezTo>
                  <a:pt x="277132" y="619034"/>
                  <a:pt x="0" y="341902"/>
                  <a:pt x="0" y="0"/>
                </a:cubicBezTo>
                <a:lnTo>
                  <a:pt x="0" y="80200"/>
                </a:lnTo>
                <a:cubicBezTo>
                  <a:pt x="42753" y="388131"/>
                  <a:pt x="307016" y="625133"/>
                  <a:pt x="626719" y="625133"/>
                </a:cubicBezTo>
                <a:close/>
              </a:path>
            </a:pathLst>
          </a:custGeom>
          <a:solidFill>
            <a:srgbClr val="8400ED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34" name="Freeform: Shape 1533">
            <a:extLst>
              <a:ext uri="{FF2B5EF4-FFF2-40B4-BE49-F238E27FC236}">
                <a16:creationId xmlns:a16="http://schemas.microsoft.com/office/drawing/2014/main" id="{409B82BA-BFEA-2D28-D804-80970820F6D1}"/>
              </a:ext>
            </a:extLst>
          </p:cNvPr>
          <p:cNvSpPr/>
          <p:nvPr/>
        </p:nvSpPr>
        <p:spPr>
          <a:xfrm>
            <a:off x="3167344" y="4896788"/>
            <a:ext cx="1036" cy="34397"/>
          </a:xfrm>
          <a:custGeom>
            <a:avLst/>
            <a:gdLst>
              <a:gd name="connsiteX0" fmla="*/ 0 w 1036"/>
              <a:gd name="connsiteY0" fmla="*/ 0 h 34397"/>
              <a:gd name="connsiteX1" fmla="*/ 0 w 1036"/>
              <a:gd name="connsiteY1" fmla="*/ 34398 h 34397"/>
              <a:gd name="connsiteX2" fmla="*/ 1037 w 1036"/>
              <a:gd name="connsiteY2" fmla="*/ 0 h 34397"/>
              <a:gd name="connsiteX3" fmla="*/ 0 w 1036"/>
              <a:gd name="connsiteY3" fmla="*/ 0 h 34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6" h="34397">
                <a:moveTo>
                  <a:pt x="0" y="0"/>
                </a:moveTo>
                <a:lnTo>
                  <a:pt x="0" y="34398"/>
                </a:lnTo>
                <a:cubicBezTo>
                  <a:pt x="0" y="22871"/>
                  <a:pt x="427" y="11405"/>
                  <a:pt x="1037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8400ED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35" name="Freeform: Shape 1534">
            <a:extLst>
              <a:ext uri="{FF2B5EF4-FFF2-40B4-BE49-F238E27FC236}">
                <a16:creationId xmlns:a16="http://schemas.microsoft.com/office/drawing/2014/main" id="{D336E25F-D246-9588-FA32-FD17173FA9C8}"/>
              </a:ext>
            </a:extLst>
          </p:cNvPr>
          <p:cNvSpPr/>
          <p:nvPr/>
        </p:nvSpPr>
        <p:spPr>
          <a:xfrm>
            <a:off x="3161245" y="4205422"/>
            <a:ext cx="1239916" cy="1344797"/>
          </a:xfrm>
          <a:custGeom>
            <a:avLst/>
            <a:gdLst>
              <a:gd name="connsiteX0" fmla="*/ 1182202 w 1239916"/>
              <a:gd name="connsiteY0" fmla="*/ 5062 h 1344797"/>
              <a:gd name="connsiteX1" fmla="*/ 1156465 w 1239916"/>
              <a:gd name="connsiteY1" fmla="*/ 1098 h 1344797"/>
              <a:gd name="connsiteX2" fmla="*/ 165157 w 1239916"/>
              <a:gd name="connsiteY2" fmla="*/ 1098 h 1344797"/>
              <a:gd name="connsiteX3" fmla="*/ 162169 w 1239916"/>
              <a:gd name="connsiteY3" fmla="*/ 0 h 1344797"/>
              <a:gd name="connsiteX4" fmla="*/ 162778 w 1239916"/>
              <a:gd name="connsiteY4" fmla="*/ 4940 h 1344797"/>
              <a:gd name="connsiteX5" fmla="*/ 161864 w 1239916"/>
              <a:gd name="connsiteY5" fmla="*/ 4940 h 1344797"/>
              <a:gd name="connsiteX6" fmla="*/ 165462 w 1239916"/>
              <a:gd name="connsiteY6" fmla="*/ 28482 h 1344797"/>
              <a:gd name="connsiteX7" fmla="*/ 168328 w 1239916"/>
              <a:gd name="connsiteY7" fmla="*/ 88433 h 1344797"/>
              <a:gd name="connsiteX8" fmla="*/ 165645 w 1239916"/>
              <a:gd name="connsiteY8" fmla="*/ 146190 h 1344797"/>
              <a:gd name="connsiteX9" fmla="*/ 86116 w 1239916"/>
              <a:gd name="connsiteY9" fmla="*/ 400573 h 1344797"/>
              <a:gd name="connsiteX10" fmla="*/ 85262 w 1239916"/>
              <a:gd name="connsiteY10" fmla="*/ 400695 h 1344797"/>
              <a:gd name="connsiteX11" fmla="*/ 0 w 1239916"/>
              <a:gd name="connsiteY11" fmla="*/ 718079 h 1344797"/>
              <a:gd name="connsiteX12" fmla="*/ 6099 w 1239916"/>
              <a:gd name="connsiteY12" fmla="*/ 805903 h 1344797"/>
              <a:gd name="connsiteX13" fmla="*/ 6099 w 1239916"/>
              <a:gd name="connsiteY13" fmla="*/ 691366 h 1344797"/>
              <a:gd name="connsiteX14" fmla="*/ 7136 w 1239916"/>
              <a:gd name="connsiteY14" fmla="*/ 691366 h 1344797"/>
              <a:gd name="connsiteX15" fmla="*/ 6099 w 1239916"/>
              <a:gd name="connsiteY15" fmla="*/ 725764 h 1344797"/>
              <a:gd name="connsiteX16" fmla="*/ 625133 w 1239916"/>
              <a:gd name="connsiteY16" fmla="*/ 1344798 h 1344797"/>
              <a:gd name="connsiteX17" fmla="*/ 1088646 w 1239916"/>
              <a:gd name="connsiteY17" fmla="*/ 1344798 h 1344797"/>
              <a:gd name="connsiteX18" fmla="*/ 1088646 w 1239916"/>
              <a:gd name="connsiteY18" fmla="*/ 582075 h 1344797"/>
              <a:gd name="connsiteX19" fmla="*/ 1158539 w 1239916"/>
              <a:gd name="connsiteY19" fmla="*/ 457170 h 1344797"/>
              <a:gd name="connsiteX20" fmla="*/ 1221113 w 1239916"/>
              <a:gd name="connsiteY20" fmla="*/ 352758 h 1344797"/>
              <a:gd name="connsiteX21" fmla="*/ 1221113 w 1239916"/>
              <a:gd name="connsiteY21" fmla="*/ 296709 h 1344797"/>
              <a:gd name="connsiteX22" fmla="*/ 1238617 w 1239916"/>
              <a:gd name="connsiteY22" fmla="*/ 296709 h 1344797"/>
              <a:gd name="connsiteX23" fmla="*/ 1238739 w 1239916"/>
              <a:gd name="connsiteY23" fmla="*/ 280791 h 1344797"/>
              <a:gd name="connsiteX24" fmla="*/ 1238739 w 1239916"/>
              <a:gd name="connsiteY24" fmla="*/ 94532 h 1344797"/>
              <a:gd name="connsiteX25" fmla="*/ 1182202 w 1239916"/>
              <a:gd name="connsiteY25" fmla="*/ 4940 h 1344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239916" h="1344797">
                <a:moveTo>
                  <a:pt x="1182202" y="5062"/>
                </a:moveTo>
                <a:cubicBezTo>
                  <a:pt x="1174640" y="3110"/>
                  <a:pt x="1166101" y="1708"/>
                  <a:pt x="1156465" y="1098"/>
                </a:cubicBezTo>
                <a:lnTo>
                  <a:pt x="165157" y="1098"/>
                </a:lnTo>
                <a:lnTo>
                  <a:pt x="162169" y="0"/>
                </a:lnTo>
                <a:cubicBezTo>
                  <a:pt x="162413" y="1647"/>
                  <a:pt x="162535" y="3293"/>
                  <a:pt x="162778" y="4940"/>
                </a:cubicBezTo>
                <a:lnTo>
                  <a:pt x="161864" y="4940"/>
                </a:lnTo>
                <a:cubicBezTo>
                  <a:pt x="163205" y="12747"/>
                  <a:pt x="164425" y="20614"/>
                  <a:pt x="165462" y="28482"/>
                </a:cubicBezTo>
                <a:cubicBezTo>
                  <a:pt x="167292" y="48242"/>
                  <a:pt x="168328" y="68185"/>
                  <a:pt x="168328" y="88433"/>
                </a:cubicBezTo>
                <a:cubicBezTo>
                  <a:pt x="168328" y="108682"/>
                  <a:pt x="167414" y="127161"/>
                  <a:pt x="165645" y="146190"/>
                </a:cubicBezTo>
                <a:cubicBezTo>
                  <a:pt x="157351" y="238038"/>
                  <a:pt x="129418" y="324276"/>
                  <a:pt x="86116" y="400573"/>
                </a:cubicBezTo>
                <a:lnTo>
                  <a:pt x="85262" y="400695"/>
                </a:lnTo>
                <a:cubicBezTo>
                  <a:pt x="31043" y="494007"/>
                  <a:pt x="0" y="602445"/>
                  <a:pt x="0" y="718079"/>
                </a:cubicBezTo>
                <a:cubicBezTo>
                  <a:pt x="0" y="747903"/>
                  <a:pt x="2135" y="777238"/>
                  <a:pt x="6099" y="805903"/>
                </a:cubicBezTo>
                <a:lnTo>
                  <a:pt x="6099" y="691366"/>
                </a:lnTo>
                <a:lnTo>
                  <a:pt x="7136" y="691366"/>
                </a:lnTo>
                <a:cubicBezTo>
                  <a:pt x="6526" y="702771"/>
                  <a:pt x="6099" y="714237"/>
                  <a:pt x="6099" y="725764"/>
                </a:cubicBezTo>
                <a:cubicBezTo>
                  <a:pt x="6099" y="1067666"/>
                  <a:pt x="283231" y="1344798"/>
                  <a:pt x="625133" y="1344798"/>
                </a:cubicBezTo>
                <a:lnTo>
                  <a:pt x="1088646" y="1344798"/>
                </a:lnTo>
                <a:lnTo>
                  <a:pt x="1088646" y="582075"/>
                </a:lnTo>
                <a:cubicBezTo>
                  <a:pt x="1092427" y="455219"/>
                  <a:pt x="1158539" y="457170"/>
                  <a:pt x="1158539" y="457170"/>
                </a:cubicBezTo>
                <a:cubicBezTo>
                  <a:pt x="1232213" y="457170"/>
                  <a:pt x="1221113" y="352758"/>
                  <a:pt x="1221113" y="352758"/>
                </a:cubicBezTo>
                <a:lnTo>
                  <a:pt x="1221113" y="296709"/>
                </a:lnTo>
                <a:lnTo>
                  <a:pt x="1238617" y="296709"/>
                </a:lnTo>
                <a:lnTo>
                  <a:pt x="1238739" y="280791"/>
                </a:lnTo>
                <a:lnTo>
                  <a:pt x="1238739" y="94532"/>
                </a:lnTo>
                <a:cubicBezTo>
                  <a:pt x="1238739" y="94532"/>
                  <a:pt x="1253010" y="23298"/>
                  <a:pt x="1182202" y="4940"/>
                </a:cubicBezTo>
                <a:close/>
              </a:path>
            </a:pathLst>
          </a:custGeom>
          <a:solidFill>
            <a:srgbClr val="3E69F4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36" name="Freeform: Shape 1535">
            <a:extLst>
              <a:ext uri="{FF2B5EF4-FFF2-40B4-BE49-F238E27FC236}">
                <a16:creationId xmlns:a16="http://schemas.microsoft.com/office/drawing/2014/main" id="{22A80C25-DC7A-16B1-AF2B-4EF0D805A613}"/>
              </a:ext>
            </a:extLst>
          </p:cNvPr>
          <p:cNvSpPr/>
          <p:nvPr/>
        </p:nvSpPr>
        <p:spPr>
          <a:xfrm>
            <a:off x="4249891" y="5550220"/>
            <a:ext cx="142713" cy="5488"/>
          </a:xfrm>
          <a:custGeom>
            <a:avLst/>
            <a:gdLst>
              <a:gd name="connsiteX0" fmla="*/ 0 w 142713"/>
              <a:gd name="connsiteY0" fmla="*/ 0 h 5488"/>
              <a:gd name="connsiteX1" fmla="*/ 142713 w 142713"/>
              <a:gd name="connsiteY1" fmla="*/ 0 h 5488"/>
              <a:gd name="connsiteX2" fmla="*/ 142713 w 142713"/>
              <a:gd name="connsiteY2" fmla="*/ 5489 h 5488"/>
              <a:gd name="connsiteX3" fmla="*/ 0 w 142713"/>
              <a:gd name="connsiteY3" fmla="*/ 5489 h 5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713" h="5488">
                <a:moveTo>
                  <a:pt x="0" y="0"/>
                </a:moveTo>
                <a:lnTo>
                  <a:pt x="142713" y="0"/>
                </a:lnTo>
                <a:lnTo>
                  <a:pt x="142713" y="5489"/>
                </a:lnTo>
                <a:lnTo>
                  <a:pt x="0" y="5489"/>
                </a:lnTo>
                <a:close/>
              </a:path>
            </a:pathLst>
          </a:custGeom>
          <a:solidFill>
            <a:srgbClr val="3B8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37" name="Freeform: Shape 1536">
            <a:extLst>
              <a:ext uri="{FF2B5EF4-FFF2-40B4-BE49-F238E27FC236}">
                <a16:creationId xmlns:a16="http://schemas.microsoft.com/office/drawing/2014/main" id="{995C8574-AD80-296D-6A53-72ABD371443B}"/>
              </a:ext>
            </a:extLst>
          </p:cNvPr>
          <p:cNvSpPr/>
          <p:nvPr/>
        </p:nvSpPr>
        <p:spPr>
          <a:xfrm>
            <a:off x="4249952" y="4502192"/>
            <a:ext cx="1463725" cy="1053577"/>
          </a:xfrm>
          <a:custGeom>
            <a:avLst/>
            <a:gdLst>
              <a:gd name="connsiteX0" fmla="*/ 1443050 w 1463725"/>
              <a:gd name="connsiteY0" fmla="*/ 0 h 1053577"/>
              <a:gd name="connsiteX1" fmla="*/ 149971 w 1463725"/>
              <a:gd name="connsiteY1" fmla="*/ 0 h 1053577"/>
              <a:gd name="connsiteX2" fmla="*/ 149971 w 1463725"/>
              <a:gd name="connsiteY2" fmla="*/ 2074 h 1053577"/>
              <a:gd name="connsiteX3" fmla="*/ 132467 w 1463725"/>
              <a:gd name="connsiteY3" fmla="*/ 2074 h 1053577"/>
              <a:gd name="connsiteX4" fmla="*/ 132467 w 1463725"/>
              <a:gd name="connsiteY4" fmla="*/ 56049 h 1053577"/>
              <a:gd name="connsiteX5" fmla="*/ 69893 w 1463725"/>
              <a:gd name="connsiteY5" fmla="*/ 160461 h 1053577"/>
              <a:gd name="connsiteX6" fmla="*/ 0 w 1463725"/>
              <a:gd name="connsiteY6" fmla="*/ 285366 h 1053577"/>
              <a:gd name="connsiteX7" fmla="*/ 0 w 1463725"/>
              <a:gd name="connsiteY7" fmla="*/ 1048089 h 1053577"/>
              <a:gd name="connsiteX8" fmla="*/ 142713 w 1463725"/>
              <a:gd name="connsiteY8" fmla="*/ 1048089 h 1053577"/>
              <a:gd name="connsiteX9" fmla="*/ 142713 w 1463725"/>
              <a:gd name="connsiteY9" fmla="*/ 1053577 h 1053577"/>
              <a:gd name="connsiteX10" fmla="*/ 1463725 w 1463725"/>
              <a:gd name="connsiteY10" fmla="*/ 1053577 h 1053577"/>
              <a:gd name="connsiteX11" fmla="*/ 1463725 w 1463725"/>
              <a:gd name="connsiteY11" fmla="*/ 61 h 1053577"/>
              <a:gd name="connsiteX12" fmla="*/ 1443111 w 1463725"/>
              <a:gd name="connsiteY12" fmla="*/ 61 h 10535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63725" h="1053577">
                <a:moveTo>
                  <a:pt x="1443050" y="0"/>
                </a:moveTo>
                <a:lnTo>
                  <a:pt x="149971" y="0"/>
                </a:lnTo>
                <a:lnTo>
                  <a:pt x="149971" y="2074"/>
                </a:lnTo>
                <a:lnTo>
                  <a:pt x="132467" y="2074"/>
                </a:lnTo>
                <a:lnTo>
                  <a:pt x="132467" y="56049"/>
                </a:lnTo>
                <a:cubicBezTo>
                  <a:pt x="132467" y="56049"/>
                  <a:pt x="143567" y="160461"/>
                  <a:pt x="69893" y="160461"/>
                </a:cubicBezTo>
                <a:cubicBezTo>
                  <a:pt x="69893" y="160461"/>
                  <a:pt x="3781" y="158509"/>
                  <a:pt x="0" y="285366"/>
                </a:cubicBezTo>
                <a:lnTo>
                  <a:pt x="0" y="1048089"/>
                </a:lnTo>
                <a:lnTo>
                  <a:pt x="142713" y="1048089"/>
                </a:lnTo>
                <a:lnTo>
                  <a:pt x="142713" y="1053577"/>
                </a:lnTo>
                <a:cubicBezTo>
                  <a:pt x="142713" y="1053577"/>
                  <a:pt x="1463725" y="1053577"/>
                  <a:pt x="1463725" y="1053577"/>
                </a:cubicBezTo>
                <a:lnTo>
                  <a:pt x="1463725" y="61"/>
                </a:lnTo>
                <a:lnTo>
                  <a:pt x="1443111" y="61"/>
                </a:lnTo>
                <a:close/>
              </a:path>
            </a:pathLst>
          </a:custGeom>
          <a:solidFill>
            <a:srgbClr val="6688F6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38" name="Freeform: Shape 1537">
            <a:extLst>
              <a:ext uri="{FF2B5EF4-FFF2-40B4-BE49-F238E27FC236}">
                <a16:creationId xmlns:a16="http://schemas.microsoft.com/office/drawing/2014/main" id="{A3FCAE1A-BC15-66FF-4484-13499C7B1F24}"/>
              </a:ext>
            </a:extLst>
          </p:cNvPr>
          <p:cNvSpPr/>
          <p:nvPr/>
        </p:nvSpPr>
        <p:spPr>
          <a:xfrm>
            <a:off x="4382358" y="4502192"/>
            <a:ext cx="17503" cy="2073"/>
          </a:xfrm>
          <a:custGeom>
            <a:avLst/>
            <a:gdLst>
              <a:gd name="connsiteX0" fmla="*/ 0 w 17503"/>
              <a:gd name="connsiteY0" fmla="*/ 0 h 2073"/>
              <a:gd name="connsiteX1" fmla="*/ 17504 w 17503"/>
              <a:gd name="connsiteY1" fmla="*/ 0 h 2073"/>
              <a:gd name="connsiteX2" fmla="*/ 17504 w 17503"/>
              <a:gd name="connsiteY2" fmla="*/ 2074 h 2073"/>
              <a:gd name="connsiteX3" fmla="*/ 0 w 17503"/>
              <a:gd name="connsiteY3" fmla="*/ 2074 h 2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03" h="2073">
                <a:moveTo>
                  <a:pt x="0" y="0"/>
                </a:moveTo>
                <a:lnTo>
                  <a:pt x="17504" y="0"/>
                </a:lnTo>
                <a:lnTo>
                  <a:pt x="17504" y="2074"/>
                </a:lnTo>
                <a:lnTo>
                  <a:pt x="0" y="2074"/>
                </a:lnTo>
                <a:close/>
              </a:path>
            </a:pathLst>
          </a:custGeom>
          <a:solidFill>
            <a:srgbClr val="3B89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39" name="Freeform: Shape 1538">
            <a:extLst>
              <a:ext uri="{FF2B5EF4-FFF2-40B4-BE49-F238E27FC236}">
                <a16:creationId xmlns:a16="http://schemas.microsoft.com/office/drawing/2014/main" id="{76871E70-5522-D1E3-B0D8-33B499CA200A}"/>
              </a:ext>
            </a:extLst>
          </p:cNvPr>
          <p:cNvSpPr/>
          <p:nvPr/>
        </p:nvSpPr>
        <p:spPr>
          <a:xfrm>
            <a:off x="5902681" y="1656100"/>
            <a:ext cx="2140698" cy="988014"/>
          </a:xfrm>
          <a:custGeom>
            <a:avLst/>
            <a:gdLst>
              <a:gd name="connsiteX0" fmla="*/ 0 w 2140698"/>
              <a:gd name="connsiteY0" fmla="*/ 0 h 988014"/>
              <a:gd name="connsiteX1" fmla="*/ 0 w 2140698"/>
              <a:gd name="connsiteY1" fmla="*/ 420821 h 988014"/>
              <a:gd name="connsiteX2" fmla="*/ 79285 w 2140698"/>
              <a:gd name="connsiteY2" fmla="*/ 506205 h 988014"/>
              <a:gd name="connsiteX3" fmla="*/ 554996 w 2140698"/>
              <a:gd name="connsiteY3" fmla="*/ 506205 h 988014"/>
              <a:gd name="connsiteX4" fmla="*/ 725764 w 2140698"/>
              <a:gd name="connsiteY4" fmla="*/ 676973 h 988014"/>
              <a:gd name="connsiteX5" fmla="*/ 725764 w 2140698"/>
              <a:gd name="connsiteY5" fmla="*/ 811148 h 988014"/>
              <a:gd name="connsiteX6" fmla="*/ 774555 w 2140698"/>
              <a:gd name="connsiteY6" fmla="*/ 957521 h 988014"/>
              <a:gd name="connsiteX7" fmla="*/ 896532 w 2140698"/>
              <a:gd name="connsiteY7" fmla="*/ 988015 h 988014"/>
              <a:gd name="connsiteX8" fmla="*/ 1768668 w 2140698"/>
              <a:gd name="connsiteY8" fmla="*/ 988015 h 988014"/>
              <a:gd name="connsiteX9" fmla="*/ 1854052 w 2140698"/>
              <a:gd name="connsiteY9" fmla="*/ 927026 h 988014"/>
              <a:gd name="connsiteX10" fmla="*/ 1854052 w 2140698"/>
              <a:gd name="connsiteY10" fmla="*/ 634281 h 988014"/>
              <a:gd name="connsiteX11" fmla="*/ 1896744 w 2140698"/>
              <a:gd name="connsiteY11" fmla="*/ 536699 h 988014"/>
              <a:gd name="connsiteX12" fmla="*/ 2134356 w 2140698"/>
              <a:gd name="connsiteY12" fmla="*/ 273412 h 988014"/>
              <a:gd name="connsiteX13" fmla="*/ 2134600 w 2140698"/>
              <a:gd name="connsiteY13" fmla="*/ 268350 h 988014"/>
              <a:gd name="connsiteX14" fmla="*/ 2134600 w 2140698"/>
              <a:gd name="connsiteY14" fmla="*/ 3049 h 988014"/>
              <a:gd name="connsiteX15" fmla="*/ 2134782 w 2140698"/>
              <a:gd name="connsiteY15" fmla="*/ 3049 h 988014"/>
              <a:gd name="connsiteX16" fmla="*/ 2140699 w 2140698"/>
              <a:gd name="connsiteY16" fmla="*/ 3049 h 988014"/>
              <a:gd name="connsiteX17" fmla="*/ 2140699 w 2140698"/>
              <a:gd name="connsiteY17" fmla="*/ 61 h 988014"/>
              <a:gd name="connsiteX18" fmla="*/ 0 w 2140698"/>
              <a:gd name="connsiteY18" fmla="*/ 61 h 988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140698" h="988014">
                <a:moveTo>
                  <a:pt x="0" y="0"/>
                </a:moveTo>
                <a:lnTo>
                  <a:pt x="0" y="420821"/>
                </a:lnTo>
                <a:cubicBezTo>
                  <a:pt x="0" y="506205"/>
                  <a:pt x="79285" y="506205"/>
                  <a:pt x="79285" y="506205"/>
                </a:cubicBezTo>
                <a:lnTo>
                  <a:pt x="554996" y="506205"/>
                </a:lnTo>
                <a:cubicBezTo>
                  <a:pt x="737962" y="512304"/>
                  <a:pt x="725764" y="676973"/>
                  <a:pt x="725764" y="676973"/>
                </a:cubicBezTo>
                <a:lnTo>
                  <a:pt x="725764" y="811148"/>
                </a:lnTo>
                <a:cubicBezTo>
                  <a:pt x="725764" y="908730"/>
                  <a:pt x="774555" y="957521"/>
                  <a:pt x="774555" y="957521"/>
                </a:cubicBezTo>
                <a:cubicBezTo>
                  <a:pt x="774555" y="957521"/>
                  <a:pt x="786752" y="988015"/>
                  <a:pt x="896532" y="988015"/>
                </a:cubicBezTo>
                <a:lnTo>
                  <a:pt x="1768668" y="988015"/>
                </a:lnTo>
                <a:cubicBezTo>
                  <a:pt x="1768668" y="988015"/>
                  <a:pt x="1847953" y="981916"/>
                  <a:pt x="1854052" y="927026"/>
                </a:cubicBezTo>
                <a:cubicBezTo>
                  <a:pt x="1860151" y="872137"/>
                  <a:pt x="1854052" y="634281"/>
                  <a:pt x="1854052" y="634281"/>
                </a:cubicBezTo>
                <a:cubicBezTo>
                  <a:pt x="1854052" y="634281"/>
                  <a:pt x="1841854" y="536699"/>
                  <a:pt x="1896744" y="536699"/>
                </a:cubicBezTo>
                <a:cubicBezTo>
                  <a:pt x="1951634" y="536699"/>
                  <a:pt x="2120267" y="542737"/>
                  <a:pt x="2134356" y="273412"/>
                </a:cubicBezTo>
                <a:cubicBezTo>
                  <a:pt x="2134417" y="271704"/>
                  <a:pt x="2134539" y="270057"/>
                  <a:pt x="2134600" y="268350"/>
                </a:cubicBezTo>
                <a:lnTo>
                  <a:pt x="2134600" y="3049"/>
                </a:lnTo>
                <a:cubicBezTo>
                  <a:pt x="2134600" y="3049"/>
                  <a:pt x="2134782" y="3049"/>
                  <a:pt x="2134782" y="3049"/>
                </a:cubicBezTo>
                <a:cubicBezTo>
                  <a:pt x="2135332" y="3049"/>
                  <a:pt x="2137954" y="2988"/>
                  <a:pt x="2140699" y="3049"/>
                </a:cubicBezTo>
                <a:lnTo>
                  <a:pt x="2140699" y="61"/>
                </a:lnTo>
                <a:lnTo>
                  <a:pt x="0" y="61"/>
                </a:lnTo>
                <a:close/>
              </a:path>
            </a:pathLst>
          </a:custGeom>
          <a:solidFill>
            <a:srgbClr val="092EA3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40" name="Freeform: Shape 1539">
            <a:extLst>
              <a:ext uri="{FF2B5EF4-FFF2-40B4-BE49-F238E27FC236}">
                <a16:creationId xmlns:a16="http://schemas.microsoft.com/office/drawing/2014/main" id="{79F32182-B48E-235B-0FBA-32EC986095E8}"/>
              </a:ext>
            </a:extLst>
          </p:cNvPr>
          <p:cNvSpPr/>
          <p:nvPr/>
        </p:nvSpPr>
        <p:spPr>
          <a:xfrm>
            <a:off x="8043379" y="1659149"/>
            <a:ext cx="6098" cy="6098"/>
          </a:xfrm>
          <a:custGeom>
            <a:avLst/>
            <a:gdLst>
              <a:gd name="connsiteX0" fmla="*/ 6099 w 6098"/>
              <a:gd name="connsiteY0" fmla="*/ 0 h 6098"/>
              <a:gd name="connsiteX1" fmla="*/ 0 w 6098"/>
              <a:gd name="connsiteY1" fmla="*/ 0 h 6098"/>
              <a:gd name="connsiteX2" fmla="*/ 0 w 6098"/>
              <a:gd name="connsiteY2" fmla="*/ 0 h 6098"/>
              <a:gd name="connsiteX3" fmla="*/ 6099 w 6098"/>
              <a:gd name="connsiteY3" fmla="*/ 0 h 6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8" h="6098">
                <a:moveTo>
                  <a:pt x="6099" y="0"/>
                </a:moveTo>
                <a:cubicBezTo>
                  <a:pt x="6099" y="0"/>
                  <a:pt x="3049" y="0"/>
                  <a:pt x="0" y="0"/>
                </a:cubicBezTo>
                <a:lnTo>
                  <a:pt x="0" y="0"/>
                </a:lnTo>
                <a:cubicBezTo>
                  <a:pt x="0" y="0"/>
                  <a:pt x="6099" y="0"/>
                  <a:pt x="6099" y="0"/>
                </a:cubicBezTo>
                <a:close/>
              </a:path>
            </a:pathLst>
          </a:custGeom>
          <a:solidFill>
            <a:srgbClr val="3B6A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41" name="Freeform: Shape 1540">
            <a:extLst>
              <a:ext uri="{FF2B5EF4-FFF2-40B4-BE49-F238E27FC236}">
                <a16:creationId xmlns:a16="http://schemas.microsoft.com/office/drawing/2014/main" id="{B58AD43B-0811-9C4A-8199-08886A425AB4}"/>
              </a:ext>
            </a:extLst>
          </p:cNvPr>
          <p:cNvSpPr/>
          <p:nvPr/>
        </p:nvSpPr>
        <p:spPr>
          <a:xfrm>
            <a:off x="7679399" y="3792712"/>
            <a:ext cx="14759" cy="13661"/>
          </a:xfrm>
          <a:custGeom>
            <a:avLst/>
            <a:gdLst>
              <a:gd name="connsiteX0" fmla="*/ 14759 w 14759"/>
              <a:gd name="connsiteY0" fmla="*/ 0 h 13661"/>
              <a:gd name="connsiteX1" fmla="*/ 0 w 14759"/>
              <a:gd name="connsiteY1" fmla="*/ 13662 h 13661"/>
              <a:gd name="connsiteX2" fmla="*/ 14759 w 14759"/>
              <a:gd name="connsiteY2" fmla="*/ 0 h 13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59" h="13661">
                <a:moveTo>
                  <a:pt x="14759" y="0"/>
                </a:moveTo>
                <a:cubicBezTo>
                  <a:pt x="9697" y="4513"/>
                  <a:pt x="4818" y="9087"/>
                  <a:pt x="0" y="13662"/>
                </a:cubicBezTo>
                <a:cubicBezTo>
                  <a:pt x="4818" y="9026"/>
                  <a:pt x="9758" y="4452"/>
                  <a:pt x="14759" y="0"/>
                </a:cubicBezTo>
                <a:close/>
              </a:path>
            </a:pathLst>
          </a:custGeom>
          <a:solidFill>
            <a:srgbClr val="3B6A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42" name="Freeform: Shape 1541">
            <a:extLst>
              <a:ext uri="{FF2B5EF4-FFF2-40B4-BE49-F238E27FC236}">
                <a16:creationId xmlns:a16="http://schemas.microsoft.com/office/drawing/2014/main" id="{C0864FD0-B83B-8909-3254-A6EB1E4A2D5A}"/>
              </a:ext>
            </a:extLst>
          </p:cNvPr>
          <p:cNvSpPr/>
          <p:nvPr/>
        </p:nvSpPr>
        <p:spPr>
          <a:xfrm>
            <a:off x="7665067" y="3809972"/>
            <a:ext cx="10550" cy="10551"/>
          </a:xfrm>
          <a:custGeom>
            <a:avLst/>
            <a:gdLst>
              <a:gd name="connsiteX0" fmla="*/ 793 w 10550"/>
              <a:gd name="connsiteY0" fmla="*/ 9697 h 10551"/>
              <a:gd name="connsiteX1" fmla="*/ 0 w 10550"/>
              <a:gd name="connsiteY1" fmla="*/ 10551 h 10551"/>
              <a:gd name="connsiteX2" fmla="*/ 10551 w 10550"/>
              <a:gd name="connsiteY2" fmla="*/ 0 h 10551"/>
              <a:gd name="connsiteX3" fmla="*/ 793 w 10550"/>
              <a:gd name="connsiteY3" fmla="*/ 9636 h 1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550" h="10551">
                <a:moveTo>
                  <a:pt x="793" y="9697"/>
                </a:moveTo>
                <a:cubicBezTo>
                  <a:pt x="793" y="9697"/>
                  <a:pt x="244" y="10246"/>
                  <a:pt x="0" y="10551"/>
                </a:cubicBezTo>
                <a:cubicBezTo>
                  <a:pt x="3476" y="7014"/>
                  <a:pt x="7013" y="3476"/>
                  <a:pt x="10551" y="0"/>
                </a:cubicBezTo>
                <a:cubicBezTo>
                  <a:pt x="7258" y="3171"/>
                  <a:pt x="4025" y="6404"/>
                  <a:pt x="793" y="9636"/>
                </a:cubicBezTo>
                <a:close/>
              </a:path>
            </a:pathLst>
          </a:custGeom>
          <a:solidFill>
            <a:srgbClr val="3B6A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43" name="Freeform: Shape 1542">
            <a:extLst>
              <a:ext uri="{FF2B5EF4-FFF2-40B4-BE49-F238E27FC236}">
                <a16:creationId xmlns:a16="http://schemas.microsoft.com/office/drawing/2014/main" id="{6FEC10D3-A5FD-A2A0-1CEE-1B0ACCE3647F}"/>
              </a:ext>
            </a:extLst>
          </p:cNvPr>
          <p:cNvSpPr/>
          <p:nvPr/>
        </p:nvSpPr>
        <p:spPr>
          <a:xfrm>
            <a:off x="7662689" y="3819669"/>
            <a:ext cx="3110" cy="3110"/>
          </a:xfrm>
          <a:custGeom>
            <a:avLst/>
            <a:gdLst>
              <a:gd name="connsiteX0" fmla="*/ 61 w 3110"/>
              <a:gd name="connsiteY0" fmla="*/ 3110 h 3110"/>
              <a:gd name="connsiteX1" fmla="*/ 2318 w 3110"/>
              <a:gd name="connsiteY1" fmla="*/ 854 h 3110"/>
              <a:gd name="connsiteX2" fmla="*/ 3110 w 3110"/>
              <a:gd name="connsiteY2" fmla="*/ 0 h 3110"/>
              <a:gd name="connsiteX3" fmla="*/ 0 w 3110"/>
              <a:gd name="connsiteY3" fmla="*/ 3110 h 3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10" h="3110">
                <a:moveTo>
                  <a:pt x="61" y="3110"/>
                </a:moveTo>
                <a:cubicBezTo>
                  <a:pt x="793" y="2318"/>
                  <a:pt x="1586" y="1586"/>
                  <a:pt x="2318" y="854"/>
                </a:cubicBezTo>
                <a:cubicBezTo>
                  <a:pt x="2622" y="549"/>
                  <a:pt x="2866" y="305"/>
                  <a:pt x="3110" y="0"/>
                </a:cubicBezTo>
                <a:cubicBezTo>
                  <a:pt x="2073" y="1037"/>
                  <a:pt x="1037" y="2074"/>
                  <a:pt x="0" y="3110"/>
                </a:cubicBezTo>
                <a:close/>
              </a:path>
            </a:pathLst>
          </a:custGeom>
          <a:solidFill>
            <a:srgbClr val="3B6A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44" name="Freeform: Shape 1543">
            <a:extLst>
              <a:ext uri="{FF2B5EF4-FFF2-40B4-BE49-F238E27FC236}">
                <a16:creationId xmlns:a16="http://schemas.microsoft.com/office/drawing/2014/main" id="{054476F4-87B3-BAF4-2B1E-A71F86335F59}"/>
              </a:ext>
            </a:extLst>
          </p:cNvPr>
          <p:cNvSpPr/>
          <p:nvPr/>
        </p:nvSpPr>
        <p:spPr>
          <a:xfrm>
            <a:off x="7601090" y="3818083"/>
            <a:ext cx="66416" cy="6220"/>
          </a:xfrm>
          <a:custGeom>
            <a:avLst/>
            <a:gdLst>
              <a:gd name="connsiteX0" fmla="*/ 60562 w 66416"/>
              <a:gd name="connsiteY0" fmla="*/ 5855 h 6220"/>
              <a:gd name="connsiteX1" fmla="*/ 61721 w 66416"/>
              <a:gd name="connsiteY1" fmla="*/ 4757 h 6220"/>
              <a:gd name="connsiteX2" fmla="*/ 64831 w 66416"/>
              <a:gd name="connsiteY2" fmla="*/ 1647 h 6220"/>
              <a:gd name="connsiteX3" fmla="*/ 66417 w 66416"/>
              <a:gd name="connsiteY3" fmla="*/ 0 h 6220"/>
              <a:gd name="connsiteX4" fmla="*/ 64221 w 66416"/>
              <a:gd name="connsiteY4" fmla="*/ 122 h 6220"/>
              <a:gd name="connsiteX5" fmla="*/ 5550 w 66416"/>
              <a:gd name="connsiteY5" fmla="*/ 122 h 6220"/>
              <a:gd name="connsiteX6" fmla="*/ 0 w 66416"/>
              <a:gd name="connsiteY6" fmla="*/ 6221 h 6220"/>
              <a:gd name="connsiteX7" fmla="*/ 52023 w 66416"/>
              <a:gd name="connsiteY7" fmla="*/ 6221 h 6220"/>
              <a:gd name="connsiteX8" fmla="*/ 60623 w 66416"/>
              <a:gd name="connsiteY8" fmla="*/ 5916 h 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6416" h="6220">
                <a:moveTo>
                  <a:pt x="60562" y="5855"/>
                </a:moveTo>
                <a:cubicBezTo>
                  <a:pt x="60928" y="5489"/>
                  <a:pt x="61294" y="5123"/>
                  <a:pt x="61721" y="4757"/>
                </a:cubicBezTo>
                <a:cubicBezTo>
                  <a:pt x="62757" y="3720"/>
                  <a:pt x="63794" y="2684"/>
                  <a:pt x="64831" y="1647"/>
                </a:cubicBezTo>
                <a:cubicBezTo>
                  <a:pt x="65380" y="1098"/>
                  <a:pt x="65868" y="549"/>
                  <a:pt x="66417" y="0"/>
                </a:cubicBezTo>
                <a:lnTo>
                  <a:pt x="64221" y="122"/>
                </a:lnTo>
                <a:lnTo>
                  <a:pt x="5550" y="122"/>
                </a:lnTo>
                <a:cubicBezTo>
                  <a:pt x="3660" y="2135"/>
                  <a:pt x="1830" y="4147"/>
                  <a:pt x="0" y="6221"/>
                </a:cubicBezTo>
                <a:lnTo>
                  <a:pt x="52023" y="6221"/>
                </a:lnTo>
                <a:lnTo>
                  <a:pt x="60623" y="5916"/>
                </a:lnTo>
                <a:close/>
              </a:path>
            </a:pathLst>
          </a:custGeom>
          <a:solidFill>
            <a:srgbClr val="3B6A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45" name="Freeform: Shape 1544">
            <a:extLst>
              <a:ext uri="{FF2B5EF4-FFF2-40B4-BE49-F238E27FC236}">
                <a16:creationId xmlns:a16="http://schemas.microsoft.com/office/drawing/2014/main" id="{A1731C34-8332-5392-FF07-0D3DAA26AAE0}"/>
              </a:ext>
            </a:extLst>
          </p:cNvPr>
          <p:cNvSpPr/>
          <p:nvPr/>
        </p:nvSpPr>
        <p:spPr>
          <a:xfrm>
            <a:off x="8037463" y="1659122"/>
            <a:ext cx="5916" cy="27"/>
          </a:xfrm>
          <a:custGeom>
            <a:avLst/>
            <a:gdLst>
              <a:gd name="connsiteX0" fmla="*/ 0 w 5916"/>
              <a:gd name="connsiteY0" fmla="*/ 27 h 27"/>
              <a:gd name="connsiteX1" fmla="*/ 5916 w 5916"/>
              <a:gd name="connsiteY1" fmla="*/ 27 h 27"/>
              <a:gd name="connsiteX2" fmla="*/ 0 w 5916"/>
              <a:gd name="connsiteY2" fmla="*/ 27 h 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16" h="27">
                <a:moveTo>
                  <a:pt x="0" y="27"/>
                </a:moveTo>
                <a:lnTo>
                  <a:pt x="5916" y="27"/>
                </a:lnTo>
                <a:cubicBezTo>
                  <a:pt x="3172" y="-34"/>
                  <a:pt x="549" y="27"/>
                  <a:pt x="0" y="27"/>
                </a:cubicBezTo>
                <a:close/>
              </a:path>
            </a:pathLst>
          </a:custGeom>
          <a:solidFill>
            <a:srgbClr val="3B6A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46" name="Freeform: Shape 1545">
            <a:extLst>
              <a:ext uri="{FF2B5EF4-FFF2-40B4-BE49-F238E27FC236}">
                <a16:creationId xmlns:a16="http://schemas.microsoft.com/office/drawing/2014/main" id="{0A57AE10-0321-5CFD-EC99-623B47D35E01}"/>
              </a:ext>
            </a:extLst>
          </p:cNvPr>
          <p:cNvSpPr/>
          <p:nvPr/>
        </p:nvSpPr>
        <p:spPr>
          <a:xfrm>
            <a:off x="6303063" y="1659149"/>
            <a:ext cx="2737417" cy="2165094"/>
          </a:xfrm>
          <a:custGeom>
            <a:avLst/>
            <a:gdLst>
              <a:gd name="connsiteX0" fmla="*/ 1758613 w 2737417"/>
              <a:gd name="connsiteY0" fmla="*/ 0 h 2165094"/>
              <a:gd name="connsiteX1" fmla="*/ 1734400 w 2737417"/>
              <a:gd name="connsiteY1" fmla="*/ 0 h 2165094"/>
              <a:gd name="connsiteX2" fmla="*/ 1734217 w 2737417"/>
              <a:gd name="connsiteY2" fmla="*/ 0 h 2165094"/>
              <a:gd name="connsiteX3" fmla="*/ 1734217 w 2737417"/>
              <a:gd name="connsiteY3" fmla="*/ 265300 h 2165094"/>
              <a:gd name="connsiteX4" fmla="*/ 1733973 w 2737417"/>
              <a:gd name="connsiteY4" fmla="*/ 270362 h 2165094"/>
              <a:gd name="connsiteX5" fmla="*/ 1496361 w 2737417"/>
              <a:gd name="connsiteY5" fmla="*/ 533650 h 2165094"/>
              <a:gd name="connsiteX6" fmla="*/ 1453669 w 2737417"/>
              <a:gd name="connsiteY6" fmla="*/ 631232 h 2165094"/>
              <a:gd name="connsiteX7" fmla="*/ 1453669 w 2737417"/>
              <a:gd name="connsiteY7" fmla="*/ 923977 h 2165094"/>
              <a:gd name="connsiteX8" fmla="*/ 1368285 w 2737417"/>
              <a:gd name="connsiteY8" fmla="*/ 984965 h 2165094"/>
              <a:gd name="connsiteX9" fmla="*/ 496149 w 2737417"/>
              <a:gd name="connsiteY9" fmla="*/ 984965 h 2165094"/>
              <a:gd name="connsiteX10" fmla="*/ 374172 w 2737417"/>
              <a:gd name="connsiteY10" fmla="*/ 954471 h 2165094"/>
              <a:gd name="connsiteX11" fmla="*/ 93625 w 2737417"/>
              <a:gd name="connsiteY11" fmla="*/ 954471 h 2165094"/>
              <a:gd name="connsiteX12" fmla="*/ 2142 w 2737417"/>
              <a:gd name="connsiteY12" fmla="*/ 1149635 h 2165094"/>
              <a:gd name="connsiteX13" fmla="*/ 2142 w 2737417"/>
              <a:gd name="connsiteY13" fmla="*/ 2165094 h 2165094"/>
              <a:gd name="connsiteX14" fmla="*/ 1297966 w 2737417"/>
              <a:gd name="connsiteY14" fmla="*/ 2165094 h 2165094"/>
              <a:gd name="connsiteX15" fmla="*/ 1303516 w 2737417"/>
              <a:gd name="connsiteY15" fmla="*/ 2158995 h 2165094"/>
              <a:gd name="connsiteX16" fmla="*/ 1362187 w 2737417"/>
              <a:gd name="connsiteY16" fmla="*/ 2158995 h 2165094"/>
              <a:gd name="connsiteX17" fmla="*/ 1364382 w 2737417"/>
              <a:gd name="connsiteY17" fmla="*/ 2158873 h 2165094"/>
              <a:gd name="connsiteX18" fmla="*/ 1362797 w 2737417"/>
              <a:gd name="connsiteY18" fmla="*/ 2160520 h 2165094"/>
              <a:gd name="connsiteX19" fmla="*/ 1372555 w 2737417"/>
              <a:gd name="connsiteY19" fmla="*/ 2150884 h 2165094"/>
              <a:gd name="connsiteX20" fmla="*/ 1376336 w 2737417"/>
              <a:gd name="connsiteY20" fmla="*/ 2147286 h 2165094"/>
              <a:gd name="connsiteX21" fmla="*/ 1391095 w 2737417"/>
              <a:gd name="connsiteY21" fmla="*/ 2133624 h 2165094"/>
              <a:gd name="connsiteX22" fmla="*/ 1750867 w 2737417"/>
              <a:gd name="connsiteY22" fmla="*/ 1981702 h 2165094"/>
              <a:gd name="connsiteX23" fmla="*/ 1758552 w 2737417"/>
              <a:gd name="connsiteY23" fmla="*/ 1979140 h 2165094"/>
              <a:gd name="connsiteX24" fmla="*/ 2737052 w 2737417"/>
              <a:gd name="connsiteY24" fmla="*/ 1016496 h 2165094"/>
              <a:gd name="connsiteX25" fmla="*/ 2737418 w 2737417"/>
              <a:gd name="connsiteY25" fmla="*/ 989600 h 2165094"/>
              <a:gd name="connsiteX26" fmla="*/ 1758552 w 2737417"/>
              <a:gd name="connsiteY26" fmla="*/ 61 h 2165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737417" h="2165094">
                <a:moveTo>
                  <a:pt x="1758613" y="0"/>
                </a:moveTo>
                <a:lnTo>
                  <a:pt x="1734400" y="0"/>
                </a:lnTo>
                <a:cubicBezTo>
                  <a:pt x="1734400" y="0"/>
                  <a:pt x="1734217" y="0"/>
                  <a:pt x="1734217" y="0"/>
                </a:cubicBezTo>
                <a:lnTo>
                  <a:pt x="1734217" y="265300"/>
                </a:lnTo>
                <a:cubicBezTo>
                  <a:pt x="1734156" y="267008"/>
                  <a:pt x="1734034" y="268716"/>
                  <a:pt x="1733973" y="270362"/>
                </a:cubicBezTo>
                <a:cubicBezTo>
                  <a:pt x="1719885" y="539688"/>
                  <a:pt x="1550885" y="533650"/>
                  <a:pt x="1496361" y="533650"/>
                </a:cubicBezTo>
                <a:cubicBezTo>
                  <a:pt x="1441838" y="533650"/>
                  <a:pt x="1453669" y="631232"/>
                  <a:pt x="1453669" y="631232"/>
                </a:cubicBezTo>
                <a:cubicBezTo>
                  <a:pt x="1453669" y="631232"/>
                  <a:pt x="1459768" y="869087"/>
                  <a:pt x="1453669" y="923977"/>
                </a:cubicBezTo>
                <a:cubicBezTo>
                  <a:pt x="1447571" y="978867"/>
                  <a:pt x="1368285" y="984965"/>
                  <a:pt x="1368285" y="984965"/>
                </a:cubicBezTo>
                <a:lnTo>
                  <a:pt x="496149" y="984965"/>
                </a:lnTo>
                <a:cubicBezTo>
                  <a:pt x="386370" y="984965"/>
                  <a:pt x="374172" y="954471"/>
                  <a:pt x="374172" y="954471"/>
                </a:cubicBezTo>
                <a:lnTo>
                  <a:pt x="93625" y="954471"/>
                </a:lnTo>
                <a:cubicBezTo>
                  <a:pt x="-22254" y="954471"/>
                  <a:pt x="2142" y="1149635"/>
                  <a:pt x="2142" y="1149635"/>
                </a:cubicBezTo>
                <a:lnTo>
                  <a:pt x="2142" y="2165094"/>
                </a:lnTo>
                <a:lnTo>
                  <a:pt x="1297966" y="2165094"/>
                </a:lnTo>
                <a:cubicBezTo>
                  <a:pt x="1299795" y="2163021"/>
                  <a:pt x="1301686" y="2161008"/>
                  <a:pt x="1303516" y="2158995"/>
                </a:cubicBezTo>
                <a:lnTo>
                  <a:pt x="1362187" y="2158995"/>
                </a:lnTo>
                <a:lnTo>
                  <a:pt x="1364382" y="2158873"/>
                </a:lnTo>
                <a:cubicBezTo>
                  <a:pt x="1363833" y="2159422"/>
                  <a:pt x="1363345" y="2159971"/>
                  <a:pt x="1362797" y="2160520"/>
                </a:cubicBezTo>
                <a:cubicBezTo>
                  <a:pt x="1366029" y="2157288"/>
                  <a:pt x="1369261" y="2154055"/>
                  <a:pt x="1372555" y="2150884"/>
                </a:cubicBezTo>
                <a:cubicBezTo>
                  <a:pt x="1373836" y="2149664"/>
                  <a:pt x="1375055" y="2148444"/>
                  <a:pt x="1376336" y="2147286"/>
                </a:cubicBezTo>
                <a:cubicBezTo>
                  <a:pt x="1381154" y="2142651"/>
                  <a:pt x="1386094" y="2138076"/>
                  <a:pt x="1391095" y="2133624"/>
                </a:cubicBezTo>
                <a:cubicBezTo>
                  <a:pt x="1495203" y="2040799"/>
                  <a:pt x="1622364" y="1990545"/>
                  <a:pt x="1750867" y="1981702"/>
                </a:cubicBezTo>
                <a:lnTo>
                  <a:pt x="1758552" y="1979140"/>
                </a:lnTo>
                <a:cubicBezTo>
                  <a:pt x="2290249" y="1979140"/>
                  <a:pt x="2722964" y="1550573"/>
                  <a:pt x="2737052" y="1016496"/>
                </a:cubicBezTo>
                <a:cubicBezTo>
                  <a:pt x="2737296" y="1007592"/>
                  <a:pt x="2737418" y="998627"/>
                  <a:pt x="2737418" y="989600"/>
                </a:cubicBezTo>
                <a:cubicBezTo>
                  <a:pt x="2737418" y="443082"/>
                  <a:pt x="2299154" y="61"/>
                  <a:pt x="1758552" y="61"/>
                </a:cubicBezTo>
                <a:close/>
              </a:path>
            </a:pathLst>
          </a:custGeom>
          <a:solidFill>
            <a:srgbClr val="57CFFF"/>
          </a:solidFill>
          <a:ln w="609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47" name="Freeform: Shape 1546">
            <a:extLst>
              <a:ext uri="{FF2B5EF4-FFF2-40B4-BE49-F238E27FC236}">
                <a16:creationId xmlns:a16="http://schemas.microsoft.com/office/drawing/2014/main" id="{ABF815A2-30EB-A61C-ED4C-73FBF50AF16F}"/>
              </a:ext>
            </a:extLst>
          </p:cNvPr>
          <p:cNvSpPr/>
          <p:nvPr/>
        </p:nvSpPr>
        <p:spPr>
          <a:xfrm>
            <a:off x="9802407" y="4244824"/>
            <a:ext cx="240955" cy="254111"/>
          </a:xfrm>
          <a:custGeom>
            <a:avLst/>
            <a:gdLst>
              <a:gd name="connsiteX0" fmla="*/ 240955 w 240955"/>
              <a:gd name="connsiteY0" fmla="*/ 29 h 254111"/>
              <a:gd name="connsiteX1" fmla="*/ 240955 w 240955"/>
              <a:gd name="connsiteY1" fmla="*/ 32150 h 254111"/>
              <a:gd name="connsiteX2" fmla="*/ 41680 w 240955"/>
              <a:gd name="connsiteY2" fmla="*/ 232424 h 254111"/>
              <a:gd name="connsiteX3" fmla="*/ 40769 w 240955"/>
              <a:gd name="connsiteY3" fmla="*/ 232247 h 254111"/>
              <a:gd name="connsiteX4" fmla="*/ 4182 w 240955"/>
              <a:gd name="connsiteY4" fmla="*/ 254111 h 254111"/>
              <a:gd name="connsiteX5" fmla="*/ 9 w 240955"/>
              <a:gd name="connsiteY5" fmla="*/ 233129 h 254111"/>
              <a:gd name="connsiteX6" fmla="*/ 8120 w 240955"/>
              <a:gd name="connsiteY6" fmla="*/ 208708 h 254111"/>
              <a:gd name="connsiteX7" fmla="*/ 45618 w 240955"/>
              <a:gd name="connsiteY7" fmla="*/ 192927 h 254111"/>
              <a:gd name="connsiteX8" fmla="*/ 195581 w 240955"/>
              <a:gd name="connsiteY8" fmla="*/ 110055 h 254111"/>
              <a:gd name="connsiteX9" fmla="*/ 240955 w 240955"/>
              <a:gd name="connsiteY9" fmla="*/ 0 h 254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955" h="254111">
                <a:moveTo>
                  <a:pt x="240955" y="29"/>
                </a:moveTo>
                <a:lnTo>
                  <a:pt x="240955" y="32150"/>
                </a:lnTo>
                <a:cubicBezTo>
                  <a:pt x="240955" y="142763"/>
                  <a:pt x="152264" y="232424"/>
                  <a:pt x="41680" y="232424"/>
                </a:cubicBezTo>
                <a:lnTo>
                  <a:pt x="40769" y="232247"/>
                </a:lnTo>
                <a:cubicBezTo>
                  <a:pt x="25782" y="232247"/>
                  <a:pt x="11206" y="242004"/>
                  <a:pt x="4182" y="254111"/>
                </a:cubicBezTo>
                <a:cubicBezTo>
                  <a:pt x="4182" y="254111"/>
                  <a:pt x="-226" y="245707"/>
                  <a:pt x="9" y="233129"/>
                </a:cubicBezTo>
                <a:cubicBezTo>
                  <a:pt x="244" y="220551"/>
                  <a:pt x="8120" y="208708"/>
                  <a:pt x="8120" y="208708"/>
                </a:cubicBezTo>
                <a:cubicBezTo>
                  <a:pt x="8120" y="208708"/>
                  <a:pt x="19963" y="190958"/>
                  <a:pt x="45618" y="192927"/>
                </a:cubicBezTo>
                <a:cubicBezTo>
                  <a:pt x="71273" y="194896"/>
                  <a:pt x="167957" y="173208"/>
                  <a:pt x="195581" y="110055"/>
                </a:cubicBezTo>
                <a:cubicBezTo>
                  <a:pt x="195581" y="110055"/>
                  <a:pt x="225174" y="32003"/>
                  <a:pt x="240955" y="0"/>
                </a:cubicBezTo>
                <a:close/>
              </a:path>
            </a:pathLst>
          </a:custGeom>
          <a:solidFill>
            <a:srgbClr val="0F47F2"/>
          </a:solidFill>
          <a:ln w="293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48" name="Freeform: Shape 1547">
            <a:extLst>
              <a:ext uri="{FF2B5EF4-FFF2-40B4-BE49-F238E27FC236}">
                <a16:creationId xmlns:a16="http://schemas.microsoft.com/office/drawing/2014/main" id="{97751DAA-9454-0D9D-AC59-0217176FB167}"/>
              </a:ext>
            </a:extLst>
          </p:cNvPr>
          <p:cNvSpPr/>
          <p:nvPr/>
        </p:nvSpPr>
        <p:spPr>
          <a:xfrm>
            <a:off x="9880733" y="4612370"/>
            <a:ext cx="503373" cy="281000"/>
          </a:xfrm>
          <a:custGeom>
            <a:avLst/>
            <a:gdLst>
              <a:gd name="connsiteX0" fmla="*/ 398403 w 503373"/>
              <a:gd name="connsiteY0" fmla="*/ 84900 h 281000"/>
              <a:gd name="connsiteX1" fmla="*/ 220816 w 503373"/>
              <a:gd name="connsiteY1" fmla="*/ 82931 h 281000"/>
              <a:gd name="connsiteX2" fmla="*/ 134006 w 503373"/>
              <a:gd name="connsiteY2" fmla="*/ 94774 h 281000"/>
              <a:gd name="connsiteX3" fmla="*/ 15605 w 503373"/>
              <a:gd name="connsiteY3" fmla="*/ 205270 h 281000"/>
              <a:gd name="connsiteX4" fmla="*/ 0 w 503373"/>
              <a:gd name="connsiteY4" fmla="*/ 281001 h 281000"/>
              <a:gd name="connsiteX5" fmla="*/ 7846 w 503373"/>
              <a:gd name="connsiteY5" fmla="*/ 278826 h 281000"/>
              <a:gd name="connsiteX6" fmla="*/ 203036 w 503373"/>
              <a:gd name="connsiteY6" fmla="*/ 123368 h 281000"/>
              <a:gd name="connsiteX7" fmla="*/ 415006 w 503373"/>
              <a:gd name="connsiteY7" fmla="*/ 123368 h 281000"/>
              <a:gd name="connsiteX8" fmla="*/ 503374 w 503373"/>
              <a:gd name="connsiteY8" fmla="*/ 35000 h 281000"/>
              <a:gd name="connsiteX9" fmla="*/ 503374 w 503373"/>
              <a:gd name="connsiteY9" fmla="*/ 0 h 281000"/>
              <a:gd name="connsiteX10" fmla="*/ 398344 w 503373"/>
              <a:gd name="connsiteY10" fmla="*/ 84900 h 2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03373" h="281000">
                <a:moveTo>
                  <a:pt x="398403" y="84900"/>
                </a:moveTo>
                <a:lnTo>
                  <a:pt x="220816" y="82931"/>
                </a:lnTo>
                <a:cubicBezTo>
                  <a:pt x="189254" y="82931"/>
                  <a:pt x="134006" y="94774"/>
                  <a:pt x="134006" y="94774"/>
                </a:cubicBezTo>
                <a:cubicBezTo>
                  <a:pt x="134006" y="94774"/>
                  <a:pt x="41260" y="130303"/>
                  <a:pt x="15605" y="205270"/>
                </a:cubicBezTo>
                <a:cubicBezTo>
                  <a:pt x="3350" y="241034"/>
                  <a:pt x="88" y="265337"/>
                  <a:pt x="0" y="281001"/>
                </a:cubicBezTo>
                <a:cubicBezTo>
                  <a:pt x="2410" y="279590"/>
                  <a:pt x="5143" y="278885"/>
                  <a:pt x="7846" y="278826"/>
                </a:cubicBezTo>
                <a:cubicBezTo>
                  <a:pt x="28212" y="189812"/>
                  <a:pt x="107851" y="123368"/>
                  <a:pt x="203036" y="123368"/>
                </a:cubicBezTo>
                <a:lnTo>
                  <a:pt x="415006" y="123368"/>
                </a:lnTo>
                <a:cubicBezTo>
                  <a:pt x="463819" y="123368"/>
                  <a:pt x="503374" y="83812"/>
                  <a:pt x="503374" y="35000"/>
                </a:cubicBezTo>
                <a:lnTo>
                  <a:pt x="503374" y="0"/>
                </a:lnTo>
                <a:cubicBezTo>
                  <a:pt x="491090" y="96713"/>
                  <a:pt x="398344" y="84900"/>
                  <a:pt x="398344" y="84900"/>
                </a:cubicBezTo>
                <a:close/>
              </a:path>
            </a:pathLst>
          </a:custGeom>
          <a:solidFill>
            <a:srgbClr val="0F47F2"/>
          </a:solidFill>
          <a:ln w="293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49" name="Freeform: Shape 1548">
            <a:extLst>
              <a:ext uri="{FF2B5EF4-FFF2-40B4-BE49-F238E27FC236}">
                <a16:creationId xmlns:a16="http://schemas.microsoft.com/office/drawing/2014/main" id="{6AE67F39-B48E-7002-0412-22A965ADDAA1}"/>
              </a:ext>
            </a:extLst>
          </p:cNvPr>
          <p:cNvSpPr/>
          <p:nvPr/>
        </p:nvSpPr>
        <p:spPr>
          <a:xfrm>
            <a:off x="8088318" y="4820402"/>
            <a:ext cx="1815101" cy="377155"/>
          </a:xfrm>
          <a:custGeom>
            <a:avLst/>
            <a:gdLst>
              <a:gd name="connsiteX0" fmla="*/ 2998 w 1815101"/>
              <a:gd name="connsiteY0" fmla="*/ 0 h 377155"/>
              <a:gd name="connsiteX1" fmla="*/ 0 w 1815101"/>
              <a:gd name="connsiteY1" fmla="*/ 78875 h 377155"/>
              <a:gd name="connsiteX2" fmla="*/ 246970 w 1815101"/>
              <a:gd name="connsiteY2" fmla="*/ 377156 h 377155"/>
              <a:gd name="connsiteX3" fmla="*/ 1568131 w 1815101"/>
              <a:gd name="connsiteY3" fmla="*/ 377156 h 377155"/>
              <a:gd name="connsiteX4" fmla="*/ 1815102 w 1815101"/>
              <a:gd name="connsiteY4" fmla="*/ 78875 h 377155"/>
              <a:gd name="connsiteX5" fmla="*/ 1815102 w 1815101"/>
              <a:gd name="connsiteY5" fmla="*/ 999 h 377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15101" h="377155">
                <a:moveTo>
                  <a:pt x="2998" y="0"/>
                </a:moveTo>
                <a:lnTo>
                  <a:pt x="0" y="78875"/>
                </a:lnTo>
                <a:cubicBezTo>
                  <a:pt x="0" y="243620"/>
                  <a:pt x="110555" y="377156"/>
                  <a:pt x="246970" y="377156"/>
                </a:cubicBezTo>
                <a:lnTo>
                  <a:pt x="1568131" y="377156"/>
                </a:lnTo>
                <a:cubicBezTo>
                  <a:pt x="1704518" y="377156"/>
                  <a:pt x="1815102" y="243620"/>
                  <a:pt x="1815102" y="78875"/>
                </a:cubicBezTo>
                <a:lnTo>
                  <a:pt x="1815102" y="999"/>
                </a:lnTo>
              </a:path>
            </a:pathLst>
          </a:custGeom>
          <a:solidFill>
            <a:srgbClr val="0F47F2"/>
          </a:solidFill>
          <a:ln w="293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50" name="Freeform: Shape 1549">
            <a:extLst>
              <a:ext uri="{FF2B5EF4-FFF2-40B4-BE49-F238E27FC236}">
                <a16:creationId xmlns:a16="http://schemas.microsoft.com/office/drawing/2014/main" id="{14996557-D684-42AA-E3D1-F3A5843C65EF}"/>
              </a:ext>
            </a:extLst>
          </p:cNvPr>
          <p:cNvSpPr/>
          <p:nvPr/>
        </p:nvSpPr>
        <p:spPr>
          <a:xfrm>
            <a:off x="7756302" y="4331281"/>
            <a:ext cx="359534" cy="386295"/>
          </a:xfrm>
          <a:custGeom>
            <a:avLst/>
            <a:gdLst>
              <a:gd name="connsiteX0" fmla="*/ 0 w 359534"/>
              <a:gd name="connsiteY0" fmla="*/ 0 h 386295"/>
              <a:gd name="connsiteX1" fmla="*/ 0 w 359534"/>
              <a:gd name="connsiteY1" fmla="*/ 47842 h 386295"/>
              <a:gd name="connsiteX2" fmla="*/ 296811 w 359534"/>
              <a:gd name="connsiteY2" fmla="*/ 346123 h 386295"/>
              <a:gd name="connsiteX3" fmla="*/ 298163 w 359534"/>
              <a:gd name="connsiteY3" fmla="*/ 345888 h 386295"/>
              <a:gd name="connsiteX4" fmla="*/ 355585 w 359534"/>
              <a:gd name="connsiteY4" fmla="*/ 386295 h 386295"/>
              <a:gd name="connsiteX5" fmla="*/ 358877 w 359534"/>
              <a:gd name="connsiteY5" fmla="*/ 347240 h 386295"/>
              <a:gd name="connsiteX6" fmla="*/ 346769 w 359534"/>
              <a:gd name="connsiteY6" fmla="*/ 310888 h 386295"/>
              <a:gd name="connsiteX7" fmla="*/ 290933 w 359534"/>
              <a:gd name="connsiteY7" fmla="*/ 287378 h 386295"/>
              <a:gd name="connsiteX8" fmla="*/ 67591 w 359534"/>
              <a:gd name="connsiteY8" fmla="*/ 163951 h 386295"/>
              <a:gd name="connsiteX9" fmla="*/ 0 w 359534"/>
              <a:gd name="connsiteY9" fmla="*/ 29 h 386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9534" h="386295">
                <a:moveTo>
                  <a:pt x="0" y="0"/>
                </a:moveTo>
                <a:lnTo>
                  <a:pt x="0" y="47842"/>
                </a:lnTo>
                <a:cubicBezTo>
                  <a:pt x="0" y="212587"/>
                  <a:pt x="132066" y="346123"/>
                  <a:pt x="296811" y="346123"/>
                </a:cubicBezTo>
                <a:lnTo>
                  <a:pt x="298163" y="345888"/>
                </a:lnTo>
                <a:cubicBezTo>
                  <a:pt x="320497" y="345888"/>
                  <a:pt x="345153" y="368251"/>
                  <a:pt x="355585" y="386295"/>
                </a:cubicBezTo>
                <a:cubicBezTo>
                  <a:pt x="355585" y="386295"/>
                  <a:pt x="361463" y="368663"/>
                  <a:pt x="358877" y="347240"/>
                </a:cubicBezTo>
                <a:cubicBezTo>
                  <a:pt x="356614" y="328637"/>
                  <a:pt x="346769" y="310888"/>
                  <a:pt x="346769" y="310888"/>
                </a:cubicBezTo>
                <a:cubicBezTo>
                  <a:pt x="346769" y="310888"/>
                  <a:pt x="329137" y="284439"/>
                  <a:pt x="290933" y="287378"/>
                </a:cubicBezTo>
                <a:cubicBezTo>
                  <a:pt x="252730" y="290316"/>
                  <a:pt x="108733" y="257991"/>
                  <a:pt x="67591" y="163951"/>
                </a:cubicBezTo>
                <a:cubicBezTo>
                  <a:pt x="67591" y="163951"/>
                  <a:pt x="23510" y="47725"/>
                  <a:pt x="0" y="29"/>
                </a:cubicBezTo>
                <a:close/>
              </a:path>
            </a:pathLst>
          </a:custGeom>
          <a:solidFill>
            <a:srgbClr val="0F47F2"/>
          </a:solidFill>
          <a:ln w="293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51" name="Freeform: Shape 1550">
            <a:extLst>
              <a:ext uri="{FF2B5EF4-FFF2-40B4-BE49-F238E27FC236}">
                <a16:creationId xmlns:a16="http://schemas.microsoft.com/office/drawing/2014/main" id="{55236922-929A-89A1-F065-95C8D2084F48}"/>
              </a:ext>
            </a:extLst>
          </p:cNvPr>
          <p:cNvSpPr/>
          <p:nvPr/>
        </p:nvSpPr>
        <p:spPr>
          <a:xfrm>
            <a:off x="7755479" y="4039231"/>
            <a:ext cx="2628716" cy="1105459"/>
          </a:xfrm>
          <a:custGeom>
            <a:avLst/>
            <a:gdLst>
              <a:gd name="connsiteX0" fmla="*/ 2540320 w 2628716"/>
              <a:gd name="connsiteY0" fmla="*/ 481422 h 1105459"/>
              <a:gd name="connsiteX1" fmla="*/ 2087697 w 2628716"/>
              <a:gd name="connsiteY1" fmla="*/ 481422 h 1105459"/>
              <a:gd name="connsiteX2" fmla="*/ 2047173 w 2628716"/>
              <a:gd name="connsiteY2" fmla="*/ 440897 h 1105459"/>
              <a:gd name="connsiteX3" fmla="*/ 2086640 w 2628716"/>
              <a:gd name="connsiteY3" fmla="*/ 400372 h 1105459"/>
              <a:gd name="connsiteX4" fmla="*/ 2087639 w 2628716"/>
              <a:gd name="connsiteY4" fmla="*/ 400548 h 1105459"/>
              <a:gd name="connsiteX5" fmla="*/ 2287913 w 2628716"/>
              <a:gd name="connsiteY5" fmla="*/ 200274 h 1105459"/>
              <a:gd name="connsiteX6" fmla="*/ 2087639 w 2628716"/>
              <a:gd name="connsiteY6" fmla="*/ 0 h 1105459"/>
              <a:gd name="connsiteX7" fmla="*/ 1606541 w 2628716"/>
              <a:gd name="connsiteY7" fmla="*/ 0 h 1105459"/>
              <a:gd name="connsiteX8" fmla="*/ 1606541 w 2628716"/>
              <a:gd name="connsiteY8" fmla="*/ 470 h 1105459"/>
              <a:gd name="connsiteX9" fmla="*/ 298280 w 2628716"/>
              <a:gd name="connsiteY9" fmla="*/ 470 h 1105459"/>
              <a:gd name="connsiteX10" fmla="*/ 0 w 2628716"/>
              <a:gd name="connsiteY10" fmla="*/ 298751 h 1105459"/>
              <a:gd name="connsiteX11" fmla="*/ 298280 w 2628716"/>
              <a:gd name="connsiteY11" fmla="*/ 597031 h 1105459"/>
              <a:gd name="connsiteX12" fmla="*/ 299750 w 2628716"/>
              <a:gd name="connsiteY12" fmla="*/ 596796 h 1105459"/>
              <a:gd name="connsiteX13" fmla="*/ 358524 w 2628716"/>
              <a:gd name="connsiteY13" fmla="*/ 657157 h 1105459"/>
              <a:gd name="connsiteX14" fmla="*/ 356408 w 2628716"/>
              <a:gd name="connsiteY14" fmla="*/ 678346 h 1105459"/>
              <a:gd name="connsiteX15" fmla="*/ 356614 w 2628716"/>
              <a:gd name="connsiteY15" fmla="*/ 679403 h 1105459"/>
              <a:gd name="connsiteX16" fmla="*/ 332840 w 2628716"/>
              <a:gd name="connsiteY16" fmla="*/ 807179 h 1105459"/>
              <a:gd name="connsiteX17" fmla="*/ 579810 w 2628716"/>
              <a:gd name="connsiteY17" fmla="*/ 1105460 h 1105459"/>
              <a:gd name="connsiteX18" fmla="*/ 1900971 w 2628716"/>
              <a:gd name="connsiteY18" fmla="*/ 1105460 h 1105459"/>
              <a:gd name="connsiteX19" fmla="*/ 2147941 w 2628716"/>
              <a:gd name="connsiteY19" fmla="*/ 807179 h 1105459"/>
              <a:gd name="connsiteX20" fmla="*/ 2150909 w 2628716"/>
              <a:gd name="connsiteY20" fmla="*/ 766595 h 1105459"/>
              <a:gd name="connsiteX21" fmla="*/ 2328379 w 2628716"/>
              <a:gd name="connsiteY21" fmla="*/ 659067 h 1105459"/>
              <a:gd name="connsiteX22" fmla="*/ 2540349 w 2628716"/>
              <a:gd name="connsiteY22" fmla="*/ 659067 h 1105459"/>
              <a:gd name="connsiteX23" fmla="*/ 2628716 w 2628716"/>
              <a:gd name="connsiteY23" fmla="*/ 570700 h 1105459"/>
              <a:gd name="connsiteX24" fmla="*/ 2540349 w 2628716"/>
              <a:gd name="connsiteY24" fmla="*/ 481480 h 1105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628716" h="1105459">
                <a:moveTo>
                  <a:pt x="2540320" y="481422"/>
                </a:moveTo>
                <a:lnTo>
                  <a:pt x="2087697" y="481422"/>
                </a:lnTo>
                <a:cubicBezTo>
                  <a:pt x="2065304" y="481422"/>
                  <a:pt x="2047173" y="463260"/>
                  <a:pt x="2047173" y="440897"/>
                </a:cubicBezTo>
                <a:cubicBezTo>
                  <a:pt x="2047173" y="418533"/>
                  <a:pt x="2064247" y="400372"/>
                  <a:pt x="2086640" y="400372"/>
                </a:cubicBezTo>
                <a:lnTo>
                  <a:pt x="2087639" y="400548"/>
                </a:lnTo>
                <a:cubicBezTo>
                  <a:pt x="2198252" y="400548"/>
                  <a:pt x="2287913" y="310888"/>
                  <a:pt x="2287913" y="200274"/>
                </a:cubicBezTo>
                <a:cubicBezTo>
                  <a:pt x="2287913" y="89660"/>
                  <a:pt x="2198252" y="0"/>
                  <a:pt x="2087639" y="0"/>
                </a:cubicBezTo>
                <a:lnTo>
                  <a:pt x="1606541" y="0"/>
                </a:lnTo>
                <a:cubicBezTo>
                  <a:pt x="1606541" y="147"/>
                  <a:pt x="1606541" y="323"/>
                  <a:pt x="1606541" y="470"/>
                </a:cubicBezTo>
                <a:lnTo>
                  <a:pt x="298280" y="470"/>
                </a:lnTo>
                <a:cubicBezTo>
                  <a:pt x="133536" y="470"/>
                  <a:pt x="0" y="134006"/>
                  <a:pt x="0" y="298751"/>
                </a:cubicBezTo>
                <a:cubicBezTo>
                  <a:pt x="0" y="463495"/>
                  <a:pt x="133536" y="597031"/>
                  <a:pt x="298280" y="597031"/>
                </a:cubicBezTo>
                <a:lnTo>
                  <a:pt x="299750" y="596796"/>
                </a:lnTo>
                <a:cubicBezTo>
                  <a:pt x="333075" y="596796"/>
                  <a:pt x="358524" y="623832"/>
                  <a:pt x="358524" y="657157"/>
                </a:cubicBezTo>
                <a:cubicBezTo>
                  <a:pt x="358524" y="665004"/>
                  <a:pt x="359112" y="671469"/>
                  <a:pt x="356408" y="678346"/>
                </a:cubicBezTo>
                <a:cubicBezTo>
                  <a:pt x="359905" y="693597"/>
                  <a:pt x="356614" y="679550"/>
                  <a:pt x="356614" y="679403"/>
                </a:cubicBezTo>
                <a:cubicBezTo>
                  <a:pt x="341391" y="718136"/>
                  <a:pt x="332840" y="761453"/>
                  <a:pt x="332840" y="807179"/>
                </a:cubicBezTo>
                <a:cubicBezTo>
                  <a:pt x="332840" y="971924"/>
                  <a:pt x="443394" y="1105460"/>
                  <a:pt x="579810" y="1105460"/>
                </a:cubicBezTo>
                <a:lnTo>
                  <a:pt x="1900971" y="1105460"/>
                </a:lnTo>
                <a:cubicBezTo>
                  <a:pt x="2037357" y="1105460"/>
                  <a:pt x="2147941" y="971924"/>
                  <a:pt x="2147941" y="807179"/>
                </a:cubicBezTo>
                <a:cubicBezTo>
                  <a:pt x="2147941" y="781759"/>
                  <a:pt x="2149264" y="771709"/>
                  <a:pt x="2150909" y="766595"/>
                </a:cubicBezTo>
                <a:cubicBezTo>
                  <a:pt x="2184352" y="702678"/>
                  <a:pt x="2251237" y="659067"/>
                  <a:pt x="2328379" y="659067"/>
                </a:cubicBezTo>
                <a:lnTo>
                  <a:pt x="2540349" y="659067"/>
                </a:lnTo>
                <a:cubicBezTo>
                  <a:pt x="2589161" y="659067"/>
                  <a:pt x="2628716" y="619512"/>
                  <a:pt x="2628716" y="570700"/>
                </a:cubicBezTo>
                <a:cubicBezTo>
                  <a:pt x="2628716" y="521888"/>
                  <a:pt x="2589161" y="481480"/>
                  <a:pt x="2540349" y="481480"/>
                </a:cubicBezTo>
                <a:close/>
              </a:path>
            </a:pathLst>
          </a:custGeom>
          <a:solidFill>
            <a:srgbClr val="7493F8"/>
          </a:solidFill>
          <a:ln w="293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552" name="Google Shape;64;p13">
            <a:extLst>
              <a:ext uri="{FF2B5EF4-FFF2-40B4-BE49-F238E27FC236}">
                <a16:creationId xmlns:a16="http://schemas.microsoft.com/office/drawing/2014/main" id="{AD1EDCFB-B5AF-8953-FE06-7AF65F11F5E0}"/>
              </a:ext>
            </a:extLst>
          </p:cNvPr>
          <p:cNvPicPr preferRelativeResize="0"/>
          <p:nvPr/>
        </p:nvPicPr>
        <p:blipFill>
          <a:blip r:embed="rId6">
            <a:alphaModFix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992752" y="2032563"/>
            <a:ext cx="556343" cy="137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553" name="Google Shape;68;p13">
            <a:extLst>
              <a:ext uri="{FF2B5EF4-FFF2-40B4-BE49-F238E27FC236}">
                <a16:creationId xmlns:a16="http://schemas.microsoft.com/office/drawing/2014/main" id="{7C11F59B-0C7B-5755-65FE-A3552A6A66CB}"/>
              </a:ext>
            </a:extLst>
          </p:cNvPr>
          <p:cNvPicPr preferRelativeResize="0"/>
          <p:nvPr/>
        </p:nvPicPr>
        <p:blipFill>
          <a:blip r:embed="rId8">
            <a:alphaModFix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9770" b="89943" l="5083" r="90000">
                        <a14:foregroundMark x1="26500" y1="50287" x2="26500" y2="50287"/>
                        <a14:foregroundMark x1="24667" y1="47126" x2="24167" y2="22989"/>
                        <a14:foregroundMark x1="5083" y1="27874" x2="5083" y2="27874"/>
                        <a14:foregroundMark x1="6000" y1="18103" x2="6917" y2="16667"/>
                        <a14:foregroundMark x1="5083" y1="32759" x2="5500" y2="77874"/>
                        <a14:foregroundMark x1="54500" y1="55172" x2="54500" y2="55172"/>
                        <a14:foregroundMark x1="64833" y1="60057" x2="64833" y2="60057"/>
                        <a14:foregroundMark x1="77417" y1="39080" x2="77417" y2="39080"/>
                        <a14:foregroundMark x1="85833" y1="48851" x2="85833" y2="48851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17875" y="2426067"/>
            <a:ext cx="544243" cy="157828"/>
          </a:xfrm>
          <a:prstGeom prst="rect">
            <a:avLst/>
          </a:prstGeom>
          <a:noFill/>
          <a:ln>
            <a:noFill/>
          </a:ln>
        </p:spPr>
      </p:pic>
      <p:pic>
        <p:nvPicPr>
          <p:cNvPr id="1554" name="Google Shape;70;p13">
            <a:extLst>
              <a:ext uri="{FF2B5EF4-FFF2-40B4-BE49-F238E27FC236}">
                <a16:creationId xmlns:a16="http://schemas.microsoft.com/office/drawing/2014/main" id="{D0F7260A-C3CE-07B2-38E8-4068D1A95DE3}"/>
              </a:ext>
            </a:extLst>
          </p:cNvPr>
          <p:cNvPicPr preferRelativeResize="0"/>
          <p:nvPr/>
        </p:nvPicPr>
        <p:blipFill>
          <a:blip r:embed="rId10">
            <a:alphaModFix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990135" y="2235835"/>
            <a:ext cx="692656" cy="226405"/>
          </a:xfrm>
          <a:prstGeom prst="rect">
            <a:avLst/>
          </a:prstGeom>
          <a:noFill/>
          <a:ln>
            <a:noFill/>
          </a:ln>
        </p:spPr>
      </p:pic>
      <p:pic>
        <p:nvPicPr>
          <p:cNvPr id="1555" name="Picture 36" descr="H2o.ai is the leading company that can make a huge difference - Passionate  In Marketing">
            <a:extLst>
              <a:ext uri="{FF2B5EF4-FFF2-40B4-BE49-F238E27FC236}">
                <a16:creationId xmlns:a16="http://schemas.microsoft.com/office/drawing/2014/main" id="{5E58EADA-FEF3-A273-D636-0A55E8514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0000" b="90000" l="10000" r="90000">
                        <a14:foregroundMark x1="43688" y1="57286" x2="43688" y2="57286"/>
                        <a14:foregroundMark x1="34813" y1="45286" x2="34813" y2="45286"/>
                        <a14:foregroundMark x1="68063" y1="44571" x2="68063" y2="44571"/>
                        <a14:foregroundMark x1="67750" y1="43000" x2="67750" y2="43000"/>
                        <a14:foregroundMark x1="72188" y1="44857" x2="72188" y2="44857"/>
                        <a14:foregroundMark x1="71813" y1="32143" x2="71813" y2="32143"/>
                        <a14:foregroundMark x1="72000" y1="56429" x2="72000" y2="56429"/>
                        <a14:foregroundMark x1="57750" y1="55714" x2="57750" y2="55714"/>
                        <a14:backgroundMark x1="24188" y1="71143" x2="24188" y2="71143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9057" y="2587489"/>
            <a:ext cx="660999" cy="289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56" name="Picture 4" descr="LF AI &amp; Data Foundation Logos and Artwork - ONNX">
            <a:extLst>
              <a:ext uri="{FF2B5EF4-FFF2-40B4-BE49-F238E27FC236}">
                <a16:creationId xmlns:a16="http://schemas.microsoft.com/office/drawing/2014/main" id="{88CDBBF9-EF8D-D01C-EDC0-C765101BC2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0714" y="2073889"/>
            <a:ext cx="552056" cy="152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57" name="Group 1556">
            <a:extLst>
              <a:ext uri="{FF2B5EF4-FFF2-40B4-BE49-F238E27FC236}">
                <a16:creationId xmlns:a16="http://schemas.microsoft.com/office/drawing/2014/main" id="{7E82A005-C040-65D9-3E8F-8E6767C7D233}"/>
              </a:ext>
            </a:extLst>
          </p:cNvPr>
          <p:cNvGrpSpPr/>
          <p:nvPr/>
        </p:nvGrpSpPr>
        <p:grpSpPr>
          <a:xfrm>
            <a:off x="3931143" y="1614964"/>
            <a:ext cx="814547" cy="408346"/>
            <a:chOff x="3833433" y="1764289"/>
            <a:chExt cx="482329" cy="241799"/>
          </a:xfrm>
        </p:grpSpPr>
        <p:pic>
          <p:nvPicPr>
            <p:cNvPr id="1558" name="Google Shape;71;p13">
              <a:extLst>
                <a:ext uri="{FF2B5EF4-FFF2-40B4-BE49-F238E27FC236}">
                  <a16:creationId xmlns:a16="http://schemas.microsoft.com/office/drawing/2014/main" id="{7528AB82-7E47-3DC5-9727-56FFB164DCF2}"/>
                </a:ext>
              </a:extLst>
            </p:cNvPr>
            <p:cNvPicPr preferRelativeResize="0"/>
            <p:nvPr/>
          </p:nvPicPr>
          <p:blipFill>
            <a:blip r:embed="rId15">
              <a:alphaModFix/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ackgroundRemoval t="10000" b="90000" l="10000" r="90000"/>
                      </a14:imgEffect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833433" y="1764289"/>
              <a:ext cx="482329" cy="24116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559" name="Google Shape;71;p13">
              <a:extLst>
                <a:ext uri="{FF2B5EF4-FFF2-40B4-BE49-F238E27FC236}">
                  <a16:creationId xmlns:a16="http://schemas.microsoft.com/office/drawing/2014/main" id="{EE510B1C-B9C6-2E7B-E5B4-F524896CD289}"/>
                </a:ext>
              </a:extLst>
            </p:cNvPr>
            <p:cNvPicPr preferRelativeResize="0"/>
            <p:nvPr/>
          </p:nvPicPr>
          <p:blipFill rotWithShape="1">
            <a:blip r:embed="rId17">
              <a:alphaModFix/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saturation sat="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38746"/>
            <a:stretch/>
          </p:blipFill>
          <p:spPr>
            <a:xfrm>
              <a:off x="4019418" y="1764924"/>
              <a:ext cx="295447" cy="241164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560" name="Picture 1559">
            <a:extLst>
              <a:ext uri="{FF2B5EF4-FFF2-40B4-BE49-F238E27FC236}">
                <a16:creationId xmlns:a16="http://schemas.microsoft.com/office/drawing/2014/main" id="{A901CA4C-E974-9757-B26C-D138E0257FD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02163" y="1754176"/>
            <a:ext cx="590121" cy="227107"/>
          </a:xfrm>
          <a:prstGeom prst="rect">
            <a:avLst/>
          </a:prstGeom>
        </p:spPr>
      </p:pic>
      <p:pic>
        <p:nvPicPr>
          <p:cNvPr id="1561" name="Picture 2" descr="AI and Machine Learning Applications in Atlanta | Digital Scientists">
            <a:extLst>
              <a:ext uri="{FF2B5EF4-FFF2-40B4-BE49-F238E27FC236}">
                <a16:creationId xmlns:a16="http://schemas.microsoft.com/office/drawing/2014/main" id="{F90BFF67-3167-D7BA-9BC6-077B86E1AA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2973" y="2663459"/>
            <a:ext cx="897796" cy="37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64" name="TextBox 1563">
            <a:extLst>
              <a:ext uri="{FF2B5EF4-FFF2-40B4-BE49-F238E27FC236}">
                <a16:creationId xmlns:a16="http://schemas.microsoft.com/office/drawing/2014/main" id="{1F4B3BC9-7EBD-A962-475E-57CDD628B5AB}"/>
              </a:ext>
            </a:extLst>
          </p:cNvPr>
          <p:cNvSpPr txBox="1"/>
          <p:nvPr/>
        </p:nvSpPr>
        <p:spPr>
          <a:xfrm>
            <a:off x="944018" y="1440388"/>
            <a:ext cx="16890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B9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Machine learning National Park</a:t>
            </a:r>
          </a:p>
        </p:txBody>
      </p:sp>
      <p:pic>
        <p:nvPicPr>
          <p:cNvPr id="1565" name="Picture 8">
            <a:extLst>
              <a:ext uri="{FF2B5EF4-FFF2-40B4-BE49-F238E27FC236}">
                <a16:creationId xmlns:a16="http://schemas.microsoft.com/office/drawing/2014/main" id="{E148AAF7-BFD6-7DFD-AAE8-6C999E6605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4981" y="5062512"/>
            <a:ext cx="807864" cy="177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67" name="Picture 12" descr="Apache HBase – Apache HBase™ Home">
            <a:extLst>
              <a:ext uri="{FF2B5EF4-FFF2-40B4-BE49-F238E27FC236}">
                <a16:creationId xmlns:a16="http://schemas.microsoft.com/office/drawing/2014/main" id="{927C3960-439D-B93A-DDE9-DEBFA8C681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2524" y="4670363"/>
            <a:ext cx="750127" cy="19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68" name="Picture 32">
            <a:extLst>
              <a:ext uri="{FF2B5EF4-FFF2-40B4-BE49-F238E27FC236}">
                <a16:creationId xmlns:a16="http://schemas.microsoft.com/office/drawing/2014/main" id="{F168EA8B-5EF4-F0F5-7000-B52C2F4CB8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6007" y="4611201"/>
            <a:ext cx="281980" cy="284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69" name="Picture 16">
            <a:extLst>
              <a:ext uri="{FF2B5EF4-FFF2-40B4-BE49-F238E27FC236}">
                <a16:creationId xmlns:a16="http://schemas.microsoft.com/office/drawing/2014/main" id="{C6D50E3E-BD53-3B9E-EF02-A13372AD54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5510" y="5295397"/>
            <a:ext cx="856764" cy="230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70" name="Picture 18" descr="MQTT to Cassandra in Real-Time">
            <a:extLst>
              <a:ext uri="{FF2B5EF4-FFF2-40B4-BE49-F238E27FC236}">
                <a16:creationId xmlns:a16="http://schemas.microsoft.com/office/drawing/2014/main" id="{1758A2C9-AEE9-A084-97E3-452A998775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3928" y="4950032"/>
            <a:ext cx="459927" cy="344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78" name="Google Shape;83;p13">
            <a:extLst>
              <a:ext uri="{FF2B5EF4-FFF2-40B4-BE49-F238E27FC236}">
                <a16:creationId xmlns:a16="http://schemas.microsoft.com/office/drawing/2014/main" id="{D74984E1-CD5F-8203-F0FA-FB3CD514093D}"/>
              </a:ext>
            </a:extLst>
          </p:cNvPr>
          <p:cNvPicPr preferRelativeResize="0"/>
          <p:nvPr/>
        </p:nvPicPr>
        <p:blipFill>
          <a:blip r:embed="rId30">
            <a:alphaModFix/>
            <a:extLst>
              <a:ext uri="{BEBA8EAE-BF5A-486C-A8C5-ECC9F3942E4B}">
                <a14:imgProps xmlns:a14="http://schemas.microsoft.com/office/drawing/2010/main">
                  <a14:imgLayer r:embed="rId31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90758" y="1777260"/>
            <a:ext cx="506188" cy="262797"/>
          </a:xfrm>
          <a:prstGeom prst="rect">
            <a:avLst/>
          </a:prstGeom>
          <a:noFill/>
          <a:ln>
            <a:noFill/>
          </a:ln>
        </p:spPr>
      </p:pic>
      <p:pic>
        <p:nvPicPr>
          <p:cNvPr id="1579" name="Google Shape;85;p13">
            <a:extLst>
              <a:ext uri="{FF2B5EF4-FFF2-40B4-BE49-F238E27FC236}">
                <a16:creationId xmlns:a16="http://schemas.microsoft.com/office/drawing/2014/main" id="{AFE7C06E-469B-A37E-EF8F-5520C1A5C220}"/>
              </a:ext>
            </a:extLst>
          </p:cNvPr>
          <p:cNvPicPr preferRelativeResize="0"/>
          <p:nvPr/>
        </p:nvPicPr>
        <p:blipFill>
          <a:blip r:embed="rId32">
            <a:alphaModFix/>
            <a:extLst>
              <a:ext uri="{BEBA8EAE-BF5A-486C-A8C5-ECC9F3942E4B}">
                <a14:imgProps xmlns:a14="http://schemas.microsoft.com/office/drawing/2010/main">
                  <a14:imgLayer r:embed="rId33">
                    <a14:imgEffect>
                      <a14:saturation sat="0"/>
                    </a14:imgEffect>
                    <a14:imgEffect>
                      <a14:brightnessContrast bright="69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25605" y="2255630"/>
            <a:ext cx="862910" cy="2233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580" name="Picture 1579" descr="Logo, company name&#10;&#10;Description automatically generated">
            <a:extLst>
              <a:ext uri="{FF2B5EF4-FFF2-40B4-BE49-F238E27FC236}">
                <a16:creationId xmlns:a16="http://schemas.microsoft.com/office/drawing/2014/main" id="{1D0AA99D-E69D-7B73-0900-D3524DEF3A2A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BEBA8EAE-BF5A-486C-A8C5-ECC9F3942E4B}">
                <a14:imgProps xmlns:a14="http://schemas.microsoft.com/office/drawing/2010/main">
                  <a14:imgLayer r:embed="rId3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108689" y="1736796"/>
            <a:ext cx="838793" cy="418479"/>
          </a:xfrm>
          <a:prstGeom prst="rect">
            <a:avLst/>
          </a:prstGeom>
        </p:spPr>
      </p:pic>
      <p:cxnSp>
        <p:nvCxnSpPr>
          <p:cNvPr id="1582" name="Connector: Elbow 1581">
            <a:extLst>
              <a:ext uri="{FF2B5EF4-FFF2-40B4-BE49-F238E27FC236}">
                <a16:creationId xmlns:a16="http://schemas.microsoft.com/office/drawing/2014/main" id="{C39D87FE-51EE-C18E-C3F9-98B06D1F5030}"/>
              </a:ext>
            </a:extLst>
          </p:cNvPr>
          <p:cNvCxnSpPr>
            <a:cxnSpLocks/>
          </p:cNvCxnSpPr>
          <p:nvPr/>
        </p:nvCxnSpPr>
        <p:spPr>
          <a:xfrm rot="10800000">
            <a:off x="993009" y="2022238"/>
            <a:ext cx="2164436" cy="508518"/>
          </a:xfrm>
          <a:prstGeom prst="bentConnector3">
            <a:avLst>
              <a:gd name="adj1" fmla="val 18573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89" name="Google Shape;78;p13">
            <a:extLst>
              <a:ext uri="{FF2B5EF4-FFF2-40B4-BE49-F238E27FC236}">
                <a16:creationId xmlns:a16="http://schemas.microsoft.com/office/drawing/2014/main" id="{E30A839E-4B45-8264-59E3-BFA0D89134E9}"/>
              </a:ext>
            </a:extLst>
          </p:cNvPr>
          <p:cNvPicPr preferRelativeResize="0"/>
          <p:nvPr/>
        </p:nvPicPr>
        <p:blipFill>
          <a:blip r:embed="rId36">
            <a:alphaModFix/>
            <a:extLst>
              <a:ext uri="{BEBA8EAE-BF5A-486C-A8C5-ECC9F3942E4B}">
                <a14:imgProps xmlns:a14="http://schemas.microsoft.com/office/drawing/2010/main">
                  <a14:imgLayer r:embed="rId37">
                    <a14:imgEffect>
                      <a14:backgroundRemoval t="7813" b="92795" l="4004" r="96143">
                        <a14:foregroundMark x1="50146" y1="7899" x2="50146" y2="7899"/>
                        <a14:foregroundMark x1="46240" y1="49045" x2="46240" y2="49045"/>
                        <a14:foregroundMark x1="45264" y1="49045" x2="45264" y2="49045"/>
                        <a14:foregroundMark x1="45264" y1="46701" x2="45264" y2="46701"/>
                        <a14:foregroundMark x1="46240" y1="50781" x2="46240" y2="50781"/>
                        <a14:foregroundMark x1="43945" y1="48438" x2="43945" y2="48438"/>
                        <a14:foregroundMark x1="43799" y1="47569" x2="43799" y2="47569"/>
                        <a14:foregroundMark x1="44922" y1="50260" x2="44922" y2="50260"/>
                        <a14:foregroundMark x1="46729" y1="51389" x2="46729" y2="51389"/>
                        <a14:foregroundMark x1="44287" y1="79514" x2="44287" y2="79514"/>
                        <a14:foregroundMark x1="43945" y1="85851" x2="43945" y2="85590"/>
                        <a14:foregroundMark x1="43945" y1="85590" x2="43945" y2="85590"/>
                        <a14:foregroundMark x1="43945" y1="85590" x2="43945" y2="85590"/>
                        <a14:foregroundMark x1="43945" y1="85590" x2="43945" y2="85590"/>
                        <a14:foregroundMark x1="43945" y1="85590" x2="43945" y2="85590"/>
                        <a14:foregroundMark x1="43945" y1="85590" x2="43945" y2="85590"/>
                        <a14:foregroundMark x1="43945" y1="85590" x2="43945" y2="85590"/>
                        <a14:foregroundMark x1="43945" y1="85590" x2="43945" y2="85590"/>
                        <a14:foregroundMark x1="53418" y1="81250" x2="53076" y2="89670"/>
                        <a14:foregroundMark x1="7275" y1="84462" x2="90918" y2="89063"/>
                        <a14:foregroundMark x1="96143" y1="89670" x2="4004" y2="84722"/>
                        <a14:foregroundMark x1="93359" y1="80382" x2="94189" y2="92795"/>
                        <a14:foregroundMark x1="49227" y1="64656" x2="50000" y2="66493"/>
                        <a14:foregroundMark x1="45364" y1="55469" x2="45775" y2="56446"/>
                        <a14:foregroundMark x1="44633" y1="53733" x2="45364" y2="55469"/>
                        <a14:foregroundMark x1="39121" y1="40625" x2="40073" y2="42888"/>
                        <a14:foregroundMark x1="43945" y1="47917" x2="47559" y2="51389"/>
                        <a14:foregroundMark x1="43507" y1="46960" x2="48532" y2="53121"/>
                        <a14:foregroundMark x1="42514" y1="45743" x2="43018" y2="46360"/>
                        <a14:foregroundMark x1="58496" y1="62413" x2="58496" y2="62413"/>
                        <a14:foregroundMark x1="58496" y1="62066" x2="58496" y2="61806"/>
                        <a14:foregroundMark x1="58643" y1="61198" x2="58301" y2="63281"/>
                        <a14:foregroundMark x1="49365" y1="19184" x2="49365" y2="19184"/>
                        <a14:foregroundMark x1="49512" y1="17448" x2="49512" y2="17448"/>
                        <a14:foregroundMark x1="49512" y1="18924" x2="49512" y2="18924"/>
                        <a14:foregroundMark x1="49854" y1="19531" x2="49512" y2="19184"/>
                        <a14:foregroundMark x1="49512" y1="20660" x2="49365" y2="17795"/>
                        <a14:foregroundMark x1="49512" y1="18924" x2="49512" y2="18924"/>
                        <a14:foregroundMark x1="49023" y1="18663" x2="49365" y2="19792"/>
                        <a14:foregroundMark x1="41992" y1="43576" x2="41992" y2="43576"/>
                        <a14:foregroundMark x1="41846" y1="43837" x2="41846" y2="43837"/>
                        <a14:foregroundMark x1="42188" y1="43837" x2="42188" y2="43837"/>
                        <a14:foregroundMark x1="42090" y1="44271" x2="42090" y2="44271"/>
                        <a14:foregroundMark x1="41992" y1="44271" x2="41992" y2="44271"/>
                        <a14:foregroundMark x1="41895" y1="44097" x2="42090" y2="44271"/>
                        <a14:foregroundMark x1="43311" y1="47743" x2="43311" y2="47743"/>
                        <a14:foregroundMark x1="49121" y1="51823" x2="50244" y2="51215"/>
                        <a14:backgroundMark x1="61914" y1="34028" x2="61914" y2="34028"/>
                        <a14:backgroundMark x1="56055" y1="18924" x2="56055" y2="18316"/>
                        <a14:backgroundMark x1="56055" y1="18316" x2="56689" y2="20660"/>
                        <a14:backgroundMark x1="60596" y1="33420" x2="61230" y2="33420"/>
                        <a14:backgroundMark x1="58301" y1="50781" x2="58301" y2="50781"/>
                        <a14:backgroundMark x1="58301" y1="50781" x2="58301" y2="50781"/>
                        <a14:backgroundMark x1="58301" y1="50781" x2="58301" y2="50781"/>
                        <a14:backgroundMark x1="50146" y1="60677" x2="46240" y2="54253"/>
                        <a14:backgroundMark x1="37451" y1="39727" x2="37451" y2="42708"/>
                        <a14:backgroundMark x1="37451" y1="32292" x2="37451" y2="39576"/>
                        <a14:backgroundMark x1="36475" y1="39236" x2="37994" y2="41018"/>
                        <a14:backgroundMark x1="44629" y1="18316" x2="44629" y2="18316"/>
                        <a14:backgroundMark x1="55225" y1="21788" x2="57031" y2="20920"/>
                        <a14:backgroundMark x1="62061" y1="35156" x2="62207" y2="26476"/>
                        <a14:backgroundMark x1="59961" y1="52865" x2="57178" y2="57465"/>
                        <a14:backgroundMark x1="54395" y1="61806" x2="50000" y2="59809"/>
                        <a14:backgroundMark x1="48193" y1="55990" x2="54736" y2="60677"/>
                        <a14:backgroundMark x1="35303" y1="45313" x2="41504" y2="55990"/>
                        <a14:backgroundMark x1="38428" y1="28472" x2="39063" y2="37500"/>
                        <a14:backgroundMark x1="50235" y1="18771" x2="56348" y2="17448"/>
                        <a14:backgroundMark x1="41504" y1="20660" x2="48325" y2="19184"/>
                        <a14:backgroundMark x1="51465" y1="29340" x2="52441" y2="30816"/>
                        <a14:backgroundMark x1="47412" y1="30208" x2="47412" y2="30208"/>
                        <a14:backgroundMark x1="44922" y1="35764" x2="44922" y2="35764"/>
                        <a14:backgroundMark x1="45264" y1="43576" x2="45264" y2="43576"/>
                        <a14:backgroundMark x1="49170" y1="48438" x2="49170" y2="48438"/>
                        <a14:backgroundMark x1="49658" y1="37500" x2="49658" y2="37500"/>
                        <a14:backgroundMark x1="55371" y1="34288" x2="55371" y2="34288"/>
                        <a14:backgroundMark x1="54883" y1="42969" x2="54883" y2="42969"/>
                        <a14:backgroundMark x1="55566" y1="62066" x2="55566" y2="62066"/>
                        <a14:backgroundMark x1="50000" y1="53733" x2="50000" y2="53733"/>
                        <a14:backgroundMark x1="50342" y1="53733" x2="50342" y2="53733"/>
                        <a14:backgroundMark x1="50146" y1="55122" x2="50146" y2="55122"/>
                        <a14:backgroundMark x1="46436" y1="61806" x2="46436" y2="61806"/>
                        <a14:backgroundMark x1="43164" y1="50260" x2="43164" y2="50260"/>
                        <a14:backgroundMark x1="43652" y1="51128" x2="43652" y2="51128"/>
                        <a14:backgroundMark x1="41504" y1="44444" x2="40527" y2="44444"/>
                        <a14:backgroundMark x1="43945" y1="51649" x2="43945" y2="51649"/>
                        <a14:backgroundMark x1="42334" y1="47917" x2="43164" y2="47917"/>
                        <a14:backgroundMark x1="47705" y1="58333" x2="47900" y2="61198"/>
                        <a14:backgroundMark x1="50146" y1="55122" x2="50146" y2="55122"/>
                        <a14:backgroundMark x1="55371" y1="62674" x2="56348" y2="59201"/>
                        <a14:backgroundMark x1="46924" y1="61198" x2="49512" y2="64149"/>
                        <a14:backgroundMark x1="47070" y1="58333" x2="46582" y2="62674"/>
                        <a14:backgroundMark x1="49365" y1="55469" x2="51611" y2="55990"/>
                        <a14:backgroundMark x1="55225" y1="61198" x2="57520" y2="61806"/>
                        <a14:backgroundMark x1="46094" y1="57205" x2="47705" y2="62934"/>
                        <a14:backgroundMark x1="51953" y1="59809" x2="57508" y2="61521"/>
                        <a14:backgroundMark x1="49663" y1="53144" x2="50342" y2="55729"/>
                        <a14:backgroundMark x1="45117" y1="57726" x2="46729" y2="59201"/>
                        <a14:backgroundMark x1="41504" y1="46181" x2="42822" y2="53733"/>
                        <a14:backgroundMark x1="45117" y1="46701" x2="45117" y2="46701"/>
                        <a14:backgroundMark x1="49170" y1="53733" x2="50146" y2="54861"/>
                        <a14:backgroundMark x1="46094" y1="56858" x2="45605" y2="55990"/>
                        <a14:backgroundMark x1="38574" y1="37760" x2="38574" y2="40625"/>
                        <a14:backgroundMark x1="41186" y1="45494" x2="43799" y2="53385"/>
                        <a14:backgroundMark x1="40723" y1="44097" x2="41167" y2="45439"/>
                        <a14:backgroundMark x1="47900" y1="54601" x2="50342" y2="55729"/>
                        <a14:backgroundMark x1="44287" y1="53125" x2="44287" y2="53125"/>
                        <a14:backgroundMark x1="44287" y1="52517" x2="44287" y2="52517"/>
                        <a14:backgroundMark x1="45605" y1="56858" x2="46094" y2="55729"/>
                        <a14:backgroundMark x1="45264" y1="46441" x2="45264" y2="46441"/>
                        <a14:backgroundMark x1="44141" y1="53385" x2="44141" y2="53385"/>
                        <a14:backgroundMark x1="44629" y1="53125" x2="44629" y2="53125"/>
                        <a14:backgroundMark x1="44287" y1="53733" x2="44287" y2="53733"/>
                        <a14:backgroundMark x1="44434" y1="52865" x2="44434" y2="52517"/>
                        <a14:backgroundMark x1="45605" y1="55990" x2="45605" y2="55990"/>
                        <a14:backgroundMark x1="39063" y1="40625" x2="39063" y2="40625"/>
                        <a14:backgroundMark x1="39453" y1="40191" x2="39453" y2="40191"/>
                        <a14:backgroundMark x1="40039" y1="42969" x2="40039" y2="42969"/>
                        <a14:backgroundMark x1="39453" y1="40625" x2="39453" y2="40625"/>
                        <a14:backgroundMark x1="39307" y1="40625" x2="39307" y2="40625"/>
                        <a14:backgroundMark x1="45752" y1="55469" x2="45752" y2="55469"/>
                        <a14:backgroundMark x1="48535" y1="53125" x2="48535" y2="53125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30887" y="2732082"/>
            <a:ext cx="590440" cy="33213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90" name="Google Shape;79;p13">
            <a:extLst>
              <a:ext uri="{FF2B5EF4-FFF2-40B4-BE49-F238E27FC236}">
                <a16:creationId xmlns:a16="http://schemas.microsoft.com/office/drawing/2014/main" id="{3A958A4A-278F-B8DF-9245-4CB3C2BCA29B}"/>
              </a:ext>
            </a:extLst>
          </p:cNvPr>
          <p:cNvPicPr preferRelativeResize="0"/>
          <p:nvPr/>
        </p:nvPicPr>
        <p:blipFill>
          <a:blip r:embed="rId38">
            <a:alphaModFix/>
            <a:extLst>
              <a:ext uri="{BEBA8EAE-BF5A-486C-A8C5-ECC9F3942E4B}">
                <a14:imgProps xmlns:a14="http://schemas.microsoft.com/office/drawing/2010/main">
                  <a14:imgLayer r:embed="rId39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962896" y="3237622"/>
            <a:ext cx="772345" cy="48271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91" name="Google Shape;80;p13">
            <a:extLst>
              <a:ext uri="{FF2B5EF4-FFF2-40B4-BE49-F238E27FC236}">
                <a16:creationId xmlns:a16="http://schemas.microsoft.com/office/drawing/2014/main" id="{C4D99693-55F6-8C3B-D39E-F5C6F12308AD}"/>
              </a:ext>
            </a:extLst>
          </p:cNvPr>
          <p:cNvPicPr preferRelativeResize="0"/>
          <p:nvPr/>
        </p:nvPicPr>
        <p:blipFill>
          <a:blip r:embed="rId40">
            <a:alphaModFix/>
            <a:extLst>
              <a:ext uri="{BEBA8EAE-BF5A-486C-A8C5-ECC9F3942E4B}">
                <a14:imgProps xmlns:a14="http://schemas.microsoft.com/office/drawing/2010/main">
                  <a14:imgLayer r:embed="rId41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68850" y="3157423"/>
            <a:ext cx="530299" cy="153293"/>
          </a:xfrm>
          <a:prstGeom prst="rect">
            <a:avLst/>
          </a:prstGeom>
          <a:noFill/>
          <a:ln>
            <a:noFill/>
          </a:ln>
        </p:spPr>
      </p:pic>
      <p:pic>
        <p:nvPicPr>
          <p:cNvPr id="1592" name="Google Shape;81;p13">
            <a:extLst>
              <a:ext uri="{FF2B5EF4-FFF2-40B4-BE49-F238E27FC236}">
                <a16:creationId xmlns:a16="http://schemas.microsoft.com/office/drawing/2014/main" id="{5BCA645A-D848-7DC8-7868-EB9D2E1EEF77}"/>
              </a:ext>
            </a:extLst>
          </p:cNvPr>
          <p:cNvPicPr preferRelativeResize="0"/>
          <p:nvPr/>
        </p:nvPicPr>
        <p:blipFill>
          <a:blip r:embed="rId42">
            <a:alphaModFix/>
            <a:extLst>
              <a:ext uri="{BEBA8EAE-BF5A-486C-A8C5-ECC9F3942E4B}">
                <a14:imgProps xmlns:a14="http://schemas.microsoft.com/office/drawing/2010/main">
                  <a14:imgLayer r:embed="rId4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96887" y="3104726"/>
            <a:ext cx="777318" cy="200115"/>
          </a:xfrm>
          <a:prstGeom prst="rect">
            <a:avLst/>
          </a:prstGeom>
          <a:noFill/>
          <a:ln>
            <a:noFill/>
          </a:ln>
        </p:spPr>
      </p:pic>
      <p:pic>
        <p:nvPicPr>
          <p:cNvPr id="1593" name="Google Shape;82;p13">
            <a:extLst>
              <a:ext uri="{FF2B5EF4-FFF2-40B4-BE49-F238E27FC236}">
                <a16:creationId xmlns:a16="http://schemas.microsoft.com/office/drawing/2014/main" id="{3B011656-C0B6-9DB7-61F7-04CF08369E0D}"/>
              </a:ext>
            </a:extLst>
          </p:cNvPr>
          <p:cNvPicPr preferRelativeResize="0"/>
          <p:nvPr/>
        </p:nvPicPr>
        <p:blipFill>
          <a:blip r:embed="rId44">
            <a:alphaModFix/>
            <a:extLst>
              <a:ext uri="{BEBA8EAE-BF5A-486C-A8C5-ECC9F3942E4B}">
                <a14:imgProps xmlns:a14="http://schemas.microsoft.com/office/drawing/2010/main">
                  <a14:imgLayer r:embed="rId4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884975" y="3328375"/>
            <a:ext cx="342215" cy="204861"/>
          </a:xfrm>
          <a:prstGeom prst="rect">
            <a:avLst/>
          </a:prstGeom>
          <a:noFill/>
          <a:ln>
            <a:noFill/>
          </a:ln>
        </p:spPr>
      </p:pic>
      <p:pic>
        <p:nvPicPr>
          <p:cNvPr id="1597" name="Google Shape;72;p13">
            <a:extLst>
              <a:ext uri="{FF2B5EF4-FFF2-40B4-BE49-F238E27FC236}">
                <a16:creationId xmlns:a16="http://schemas.microsoft.com/office/drawing/2014/main" id="{88198B54-3176-DFBF-F24F-EAA7EC4CC3EA}"/>
              </a:ext>
            </a:extLst>
          </p:cNvPr>
          <p:cNvPicPr preferRelativeResize="0"/>
          <p:nvPr/>
        </p:nvPicPr>
        <p:blipFill>
          <a:blip r:embed="rId46">
            <a:alphaModFix/>
            <a:extLst>
              <a:ext uri="{BEBA8EAE-BF5A-486C-A8C5-ECC9F3942E4B}">
                <a14:imgProps xmlns:a14="http://schemas.microsoft.com/office/drawing/2010/main">
                  <a14:imgLayer r:embed="rId4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00614" y="1944624"/>
            <a:ext cx="786049" cy="442159"/>
          </a:xfrm>
          <a:prstGeom prst="rect">
            <a:avLst/>
          </a:prstGeom>
          <a:noFill/>
          <a:ln>
            <a:noFill/>
          </a:ln>
        </p:spPr>
      </p:pic>
      <p:pic>
        <p:nvPicPr>
          <p:cNvPr id="1598" name="Google Shape;73;p13">
            <a:extLst>
              <a:ext uri="{FF2B5EF4-FFF2-40B4-BE49-F238E27FC236}">
                <a16:creationId xmlns:a16="http://schemas.microsoft.com/office/drawing/2014/main" id="{388E450F-D884-1520-2C48-CCC21FA8C7F2}"/>
              </a:ext>
            </a:extLst>
          </p:cNvPr>
          <p:cNvPicPr preferRelativeResize="0"/>
          <p:nvPr/>
        </p:nvPicPr>
        <p:blipFill>
          <a:blip r:embed="rId48">
            <a:alphaModFix/>
            <a:extLst>
              <a:ext uri="{BEBA8EAE-BF5A-486C-A8C5-ECC9F3942E4B}">
                <a14:imgProps xmlns:a14="http://schemas.microsoft.com/office/drawing/2010/main">
                  <a14:imgLayer r:embed="rId49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75511" y="2311779"/>
            <a:ext cx="451492" cy="300921"/>
          </a:xfrm>
          <a:prstGeom prst="rect">
            <a:avLst/>
          </a:prstGeom>
          <a:noFill/>
          <a:ln>
            <a:noFill/>
          </a:ln>
        </p:spPr>
      </p:pic>
      <p:pic>
        <p:nvPicPr>
          <p:cNvPr id="1599" name="Google Shape;74;p13">
            <a:extLst>
              <a:ext uri="{FF2B5EF4-FFF2-40B4-BE49-F238E27FC236}">
                <a16:creationId xmlns:a16="http://schemas.microsoft.com/office/drawing/2014/main" id="{B92854AC-4071-6FCD-E3B6-F8457018A9E9}"/>
              </a:ext>
            </a:extLst>
          </p:cNvPr>
          <p:cNvPicPr preferRelativeResize="0"/>
          <p:nvPr/>
        </p:nvPicPr>
        <p:blipFill>
          <a:blip r:embed="rId50">
            <a:alphaModFix/>
            <a:extLst>
              <a:ext uri="{BEBA8EAE-BF5A-486C-A8C5-ECC9F3942E4B}">
                <a14:imgProps xmlns:a14="http://schemas.microsoft.com/office/drawing/2010/main">
                  <a14:imgLayer r:embed="rId51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363267" y="2345843"/>
            <a:ext cx="611249" cy="247127"/>
          </a:xfrm>
          <a:prstGeom prst="rect">
            <a:avLst/>
          </a:prstGeom>
          <a:noFill/>
          <a:ln>
            <a:noFill/>
          </a:ln>
        </p:spPr>
      </p:pic>
      <p:pic>
        <p:nvPicPr>
          <p:cNvPr id="1600" name="Google Shape;75;p13">
            <a:extLst>
              <a:ext uri="{FF2B5EF4-FFF2-40B4-BE49-F238E27FC236}">
                <a16:creationId xmlns:a16="http://schemas.microsoft.com/office/drawing/2014/main" id="{1573FF05-326F-265D-3016-9A3C2D9C1121}"/>
              </a:ext>
            </a:extLst>
          </p:cNvPr>
          <p:cNvPicPr preferRelativeResize="0"/>
          <p:nvPr/>
        </p:nvPicPr>
        <p:blipFill>
          <a:blip r:embed="rId52">
            <a:alphaModFix/>
            <a:extLst>
              <a:ext uri="{BEBA8EAE-BF5A-486C-A8C5-ECC9F3942E4B}">
                <a14:imgProps xmlns:a14="http://schemas.microsoft.com/office/drawing/2010/main">
                  <a14:imgLayer r:embed="rId5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16735" y="1833547"/>
            <a:ext cx="605306" cy="2725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01" name="Google Shape;76;p13">
            <a:extLst>
              <a:ext uri="{FF2B5EF4-FFF2-40B4-BE49-F238E27FC236}">
                <a16:creationId xmlns:a16="http://schemas.microsoft.com/office/drawing/2014/main" id="{E639568B-013F-78BE-8FE6-5BAC8AB768B1}"/>
              </a:ext>
            </a:extLst>
          </p:cNvPr>
          <p:cNvPicPr preferRelativeResize="0"/>
          <p:nvPr/>
        </p:nvPicPr>
        <p:blipFill>
          <a:blip r:embed="rId54">
            <a:alphaModFix/>
            <a:extLst>
              <a:ext uri="{BEBA8EAE-BF5A-486C-A8C5-ECC9F3942E4B}">
                <a14:imgProps xmlns:a14="http://schemas.microsoft.com/office/drawing/2010/main">
                  <a14:imgLayer r:embed="rId5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575940" y="2052899"/>
            <a:ext cx="940373" cy="642834"/>
          </a:xfrm>
          <a:prstGeom prst="rect">
            <a:avLst/>
          </a:prstGeom>
          <a:noFill/>
          <a:ln>
            <a:noFill/>
          </a:ln>
        </p:spPr>
      </p:pic>
      <p:pic>
        <p:nvPicPr>
          <p:cNvPr id="1602" name="Google Shape;77;p13">
            <a:extLst>
              <a:ext uri="{FF2B5EF4-FFF2-40B4-BE49-F238E27FC236}">
                <a16:creationId xmlns:a16="http://schemas.microsoft.com/office/drawing/2014/main" id="{4C694122-909C-1C5D-012A-D899A18CAD67}"/>
              </a:ext>
            </a:extLst>
          </p:cNvPr>
          <p:cNvPicPr preferRelativeResize="0"/>
          <p:nvPr/>
        </p:nvPicPr>
        <p:blipFill>
          <a:blip r:embed="rId56">
            <a:alphaModFix/>
            <a:extLst>
              <a:ext uri="{BEBA8EAE-BF5A-486C-A8C5-ECC9F3942E4B}">
                <a14:imgProps xmlns:a14="http://schemas.microsoft.com/office/drawing/2010/main">
                  <a14:imgLayer r:embed="rId5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875950" y="2711750"/>
            <a:ext cx="314808" cy="2439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613" name="Picture 12" descr="Brand Assets - Prefect">
            <a:extLst>
              <a:ext uri="{FF2B5EF4-FFF2-40B4-BE49-F238E27FC236}">
                <a16:creationId xmlns:a16="http://schemas.microsoft.com/office/drawing/2014/main" id="{966CB3A9-34D7-313B-9602-9915CF175E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8">
            <a:extLst>
              <a:ext uri="{BEBA8EAE-BF5A-486C-A8C5-ECC9F3942E4B}">
                <a14:imgProps xmlns:a14="http://schemas.microsoft.com/office/drawing/2010/main">
                  <a14:imgLayer r:embed="rId5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9357" y="4276795"/>
            <a:ext cx="581819" cy="148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14" name="Picture 14" descr="Kubeflow logo? · Issue #187 · kubeflow/kubeflow · GitHub">
            <a:extLst>
              <a:ext uri="{FF2B5EF4-FFF2-40B4-BE49-F238E27FC236}">
                <a16:creationId xmlns:a16="http://schemas.microsoft.com/office/drawing/2014/main" id="{2FDF9379-45B0-FEC3-AA24-48647F059B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0">
            <a:extLst>
              <a:ext uri="{BEBA8EAE-BF5A-486C-A8C5-ECC9F3942E4B}">
                <a14:imgProps xmlns:a14="http://schemas.microsoft.com/office/drawing/2010/main">
                  <a14:imgLayer r:embed="rId6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7535" y="3962835"/>
            <a:ext cx="503600" cy="50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15" name="Picture 16" descr="GitHub - Netflix/metaflow: Build and manage real-life data science projects  with ease!">
            <a:extLst>
              <a:ext uri="{FF2B5EF4-FFF2-40B4-BE49-F238E27FC236}">
                <a16:creationId xmlns:a16="http://schemas.microsoft.com/office/drawing/2014/main" id="{1883C2A3-BF9D-81AE-BBE7-2A92CFE06B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2">
            <a:extLst>
              <a:ext uri="{BEBA8EAE-BF5A-486C-A8C5-ECC9F3942E4B}">
                <a14:imgProps xmlns:a14="http://schemas.microsoft.com/office/drawing/2010/main">
                  <a14:imgLayer r:embed="rId6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1232" y="3717066"/>
            <a:ext cx="735811" cy="367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16" name="Picture 20" descr="Managed MLflow – Databricks">
            <a:extLst>
              <a:ext uri="{FF2B5EF4-FFF2-40B4-BE49-F238E27FC236}">
                <a16:creationId xmlns:a16="http://schemas.microsoft.com/office/drawing/2014/main" id="{CAFA493F-B2C1-4248-FEB1-0CAD27DAB6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4">
            <a:extLst>
              <a:ext uri="{BEBA8EAE-BF5A-486C-A8C5-ECC9F3942E4B}">
                <a14:imgProps xmlns:a14="http://schemas.microsoft.com/office/drawing/2010/main">
                  <a14:imgLayer r:embed="rId6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5923" y="3874231"/>
            <a:ext cx="558784" cy="215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17" name="Picture 1616" descr="Text&#10;&#10;Description automatically generated with medium confidence">
            <a:extLst>
              <a:ext uri="{FF2B5EF4-FFF2-40B4-BE49-F238E27FC236}">
                <a16:creationId xmlns:a16="http://schemas.microsoft.com/office/drawing/2014/main" id="{5CB41AEB-B3A1-8B1F-50D0-B79AF435AC90}"/>
              </a:ext>
            </a:extLst>
          </p:cNvPr>
          <p:cNvPicPr>
            <a:picLocks noChangeAspect="1"/>
          </p:cNvPicPr>
          <p:nvPr/>
        </p:nvPicPr>
        <p:blipFill>
          <a:blip r:embed="rId66"/>
          <a:stretch>
            <a:fillRect/>
          </a:stretch>
        </p:blipFill>
        <p:spPr>
          <a:xfrm>
            <a:off x="4130636" y="3506080"/>
            <a:ext cx="607423" cy="302092"/>
          </a:xfrm>
          <a:prstGeom prst="rect">
            <a:avLst/>
          </a:prstGeom>
        </p:spPr>
      </p:pic>
      <p:pic>
        <p:nvPicPr>
          <p:cNvPr id="1622" name="Google Shape;62;p13">
            <a:extLst>
              <a:ext uri="{FF2B5EF4-FFF2-40B4-BE49-F238E27FC236}">
                <a16:creationId xmlns:a16="http://schemas.microsoft.com/office/drawing/2014/main" id="{C579AE6D-E736-9B7F-B725-4DC25DDE7512}"/>
              </a:ext>
            </a:extLst>
          </p:cNvPr>
          <p:cNvPicPr preferRelativeResize="0"/>
          <p:nvPr/>
        </p:nvPicPr>
        <p:blipFill>
          <a:blip r:embed="rId67">
            <a:alphaModFix/>
            <a:extLst>
              <a:ext uri="{BEBA8EAE-BF5A-486C-A8C5-ECC9F3942E4B}">
                <a14:imgProps xmlns:a14="http://schemas.microsoft.com/office/drawing/2010/main">
                  <a14:imgLayer r:embed="rId6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91540" y="4324741"/>
            <a:ext cx="779196" cy="2045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623" name="Google Shape;63;p13">
            <a:extLst>
              <a:ext uri="{FF2B5EF4-FFF2-40B4-BE49-F238E27FC236}">
                <a16:creationId xmlns:a16="http://schemas.microsoft.com/office/drawing/2014/main" id="{DC16F2BC-C02C-CD17-507F-4F93A8EC8083}"/>
              </a:ext>
            </a:extLst>
          </p:cNvPr>
          <p:cNvPicPr preferRelativeResize="0"/>
          <p:nvPr/>
        </p:nvPicPr>
        <p:blipFill>
          <a:blip r:embed="rId69">
            <a:alphaModFix/>
            <a:extLst>
              <a:ext uri="{BEBA8EAE-BF5A-486C-A8C5-ECC9F3942E4B}">
                <a14:imgProps xmlns:a14="http://schemas.microsoft.com/office/drawing/2010/main">
                  <a14:imgLayer r:embed="rId70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69468" y="4791221"/>
            <a:ext cx="761175" cy="189547"/>
          </a:xfrm>
          <a:prstGeom prst="rect">
            <a:avLst/>
          </a:prstGeom>
          <a:noFill/>
          <a:ln>
            <a:noFill/>
          </a:ln>
        </p:spPr>
      </p:pic>
      <p:pic>
        <p:nvPicPr>
          <p:cNvPr id="1624" name="Picture 4" descr="How to read REST API in Pentaho Kettle | ZappySys Blog">
            <a:extLst>
              <a:ext uri="{FF2B5EF4-FFF2-40B4-BE49-F238E27FC236}">
                <a16:creationId xmlns:a16="http://schemas.microsoft.com/office/drawing/2014/main" id="{50857574-B8AC-650C-461A-0E364B93A0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1">
            <a:extLst>
              <a:ext uri="{BEBA8EAE-BF5A-486C-A8C5-ECC9F3942E4B}">
                <a14:imgProps xmlns:a14="http://schemas.microsoft.com/office/drawing/2010/main">
                  <a14:imgLayer r:embed="rId72">
                    <a14:imgEffect>
                      <a14:backgroundRemoval t="10000" b="90000" l="0" r="96988">
                        <a14:foregroundMark x1="43675" y1="49429" x2="43675" y2="49429"/>
                        <a14:foregroundMark x1="59337" y1="46571" x2="59337" y2="46571"/>
                        <a14:foregroundMark x1="63554" y1="47429" x2="63554" y2="47429"/>
                        <a14:foregroundMark x1="77108" y1="48000" x2="77108" y2="48000"/>
                        <a14:foregroundMark x1="81024" y1="45714" x2="81024" y2="45714"/>
                        <a14:foregroundMark x1="90663" y1="49143" x2="90663" y2="49143"/>
                        <a14:foregroundMark x1="96988" y1="48000" x2="96988" y2="48000"/>
                        <a14:foregroundMark x1="23193" y1="43429" x2="23193" y2="43429"/>
                        <a14:foregroundMark x1="18675" y1="50286" x2="18675" y2="50286"/>
                        <a14:foregroundMark x1="7530" y1="54000" x2="7530" y2="54000"/>
                        <a14:foregroundMark x1="4217" y1="41429" x2="4217" y2="41429"/>
                        <a14:foregroundMark x1="0" y1="45429" x2="0" y2="45429"/>
                        <a14:foregroundMark x1="37048" y1="52571" x2="37048" y2="52571"/>
                        <a14:foregroundMark x1="40060" y1="47429" x2="40060" y2="47429"/>
                        <a14:foregroundMark x1="33434" y1="48000" x2="33434" y2="48000"/>
                        <a14:foregroundMark x1="53614" y1="46571" x2="53614" y2="46571"/>
                        <a14:foregroundMark x1="64759" y1="48286" x2="64759" y2="48286"/>
                        <a14:foregroundMark x1="86446" y1="48286" x2="86446" y2="48286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4061" y="4305005"/>
            <a:ext cx="643459" cy="678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25" name="Picture 6" descr="Cascading 2.7 User Guide">
            <a:extLst>
              <a:ext uri="{FF2B5EF4-FFF2-40B4-BE49-F238E27FC236}">
                <a16:creationId xmlns:a16="http://schemas.microsoft.com/office/drawing/2014/main" id="{9764E258-5AD8-BD79-D808-0B00A26DC9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3">
            <a:extLst>
              <a:ext uri="{BEBA8EAE-BF5A-486C-A8C5-ECC9F3942E4B}">
                <a14:imgProps xmlns:a14="http://schemas.microsoft.com/office/drawing/2010/main">
                  <a14:imgLayer r:embed="rId74">
                    <a14:imgEffect>
                      <a14:backgroundRemoval t="10000" b="90000" l="10000" r="90000">
                        <a14:foregroundMark x1="54506" y1="25926" x2="54506" y2="25926"/>
                        <a14:foregroundMark x1="64807" y1="34259" x2="64807" y2="34259"/>
                        <a14:foregroundMark x1="36910" y1="27315" x2="36910" y2="27315"/>
                        <a14:foregroundMark x1="87124" y1="77778" x2="87124" y2="77778"/>
                        <a14:foregroundMark x1="77253" y1="77778" x2="77253" y2="77778"/>
                        <a14:foregroundMark x1="68240" y1="75463" x2="68240" y2="75463"/>
                        <a14:foregroundMark x1="67811" y1="71759" x2="67811" y2="71759"/>
                        <a14:foregroundMark x1="63948" y1="72685" x2="63948" y2="72685"/>
                        <a14:foregroundMark x1="53648" y1="74537" x2="53648" y2="74537"/>
                        <a14:foregroundMark x1="42918" y1="74074" x2="42918" y2="74074"/>
                        <a14:foregroundMark x1="34764" y1="73611" x2="34764" y2="73611"/>
                        <a14:foregroundMark x1="23176" y1="74074" x2="23176" y2="74074"/>
                        <a14:foregroundMark x1="15880" y1="74074" x2="15880" y2="74074"/>
                        <a14:backgroundMark x1="35193" y1="72685" x2="35193" y2="72685"/>
                        <a14:backgroundMark x1="42060" y1="73148" x2="42060" y2="73148"/>
                        <a14:backgroundMark x1="15021" y1="72685" x2="15021" y2="72685"/>
                        <a14:backgroundMark x1="16309" y1="72685" x2="16309" y2="72685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7287" y="5007463"/>
            <a:ext cx="575269" cy="533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29" name="Picture 22" descr="Spark Streaming (procesamiento por lotes y tiempo real) - Diego Calvo">
            <a:extLst>
              <a:ext uri="{FF2B5EF4-FFF2-40B4-BE49-F238E27FC236}">
                <a16:creationId xmlns:a16="http://schemas.microsoft.com/office/drawing/2014/main" id="{C20974D1-E277-AD69-BEC7-03C39A9514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5">
            <a:extLst>
              <a:ext uri="{BEBA8EAE-BF5A-486C-A8C5-ECC9F3942E4B}">
                <a14:imgProps xmlns:a14="http://schemas.microsoft.com/office/drawing/2010/main">
                  <a14:imgLayer r:embed="rId76">
                    <a14:imgEffect>
                      <a14:backgroundRemoval t="5285" b="91057" l="6667" r="95385">
                        <a14:foregroundMark x1="68205" y1="13415" x2="68205" y2="13415"/>
                        <a14:foregroundMark x1="56410" y1="5285" x2="56410" y2="5285"/>
                        <a14:foregroundMark x1="53333" y1="41463" x2="53333" y2="41463"/>
                        <a14:foregroundMark x1="52564" y1="34959" x2="52564" y2="34959"/>
                        <a14:foregroundMark x1="52564" y1="36992" x2="52564" y2="36992"/>
                        <a14:foregroundMark x1="90769" y1="71545" x2="90769" y2="71545"/>
                        <a14:foregroundMark x1="93333" y1="71951" x2="93333" y2="71951"/>
                        <a14:foregroundMark x1="94103" y1="73171" x2="94103" y2="73171"/>
                        <a14:foregroundMark x1="95897" y1="77642" x2="95897" y2="77642"/>
                        <a14:foregroundMark x1="94359" y1="84146" x2="94359" y2="84146"/>
                        <a14:foregroundMark x1="92821" y1="87805" x2="92821" y2="87805"/>
                        <a14:foregroundMark x1="91795" y1="91463" x2="91795" y2="91463"/>
                        <a14:foregroundMark x1="86154" y1="80488" x2="86154" y2="80488"/>
                        <a14:foregroundMark x1="81538" y1="74797" x2="81538" y2="74797"/>
                        <a14:foregroundMark x1="79487" y1="72358" x2="79487" y2="72358"/>
                        <a14:foregroundMark x1="79487" y1="71951" x2="79487" y2="71951"/>
                        <a14:foregroundMark x1="79487" y1="71951" x2="79487" y2="71951"/>
                        <a14:foregroundMark x1="79487" y1="71951" x2="79487" y2="71951"/>
                        <a14:foregroundMark x1="81538" y1="76423" x2="81538" y2="76423"/>
                        <a14:foregroundMark x1="81538" y1="80488" x2="81538" y2="80488"/>
                        <a14:foregroundMark x1="69231" y1="79675" x2="69231" y2="79675"/>
                        <a14:foregroundMark x1="70000" y1="73984" x2="70000" y2="73984"/>
                        <a14:foregroundMark x1="73590" y1="80894" x2="73590" y2="80894"/>
                        <a14:foregroundMark x1="71282" y1="63415" x2="71282" y2="63415"/>
                        <a14:foregroundMark x1="61026" y1="73171" x2="61026" y2="73171"/>
                        <a14:foregroundMark x1="53077" y1="39837" x2="53077" y2="39837"/>
                        <a14:foregroundMark x1="55385" y1="36585" x2="55385" y2="36585"/>
                        <a14:foregroundMark x1="58205" y1="32520" x2="58205" y2="32520"/>
                        <a14:foregroundMark x1="57179" y1="42276" x2="57179" y2="42276"/>
                        <a14:foregroundMark x1="57692" y1="46748" x2="57692" y2="46748"/>
                        <a14:foregroundMark x1="52308" y1="42276" x2="52308" y2="42276"/>
                        <a14:foregroundMark x1="52308" y1="45528" x2="52308" y2="45528"/>
                        <a14:foregroundMark x1="45641" y1="38211" x2="45641" y2="38211"/>
                        <a14:foregroundMark x1="46154" y1="38211" x2="46154" y2="38211"/>
                        <a14:foregroundMark x1="46667" y1="36992" x2="46667" y2="36992"/>
                        <a14:foregroundMark x1="45897" y1="41463" x2="45897" y2="41463"/>
                        <a14:foregroundMark x1="45641" y1="40650" x2="45641" y2="40650"/>
                        <a14:foregroundMark x1="45641" y1="45122" x2="45641" y2="45122"/>
                        <a14:foregroundMark x1="41538" y1="39837" x2="41538" y2="39837"/>
                        <a14:foregroundMark x1="41538" y1="40650" x2="41538" y2="40650"/>
                        <a14:foregroundMark x1="41538" y1="43902" x2="41538" y2="43902"/>
                        <a14:foregroundMark x1="38718" y1="33740" x2="38718" y2="33740"/>
                        <a14:foregroundMark x1="34872" y1="33740" x2="34872" y2="33740"/>
                        <a14:foregroundMark x1="31795" y1="42683" x2="31795" y2="42683"/>
                        <a14:foregroundMark x1="31795" y1="39431" x2="31795" y2="39431"/>
                        <a14:foregroundMark x1="33846" y1="48374" x2="33846" y2="48374"/>
                        <a14:foregroundMark x1="23590" y1="34146" x2="23590" y2="34146"/>
                        <a14:foregroundMark x1="27436" y1="38211" x2="27436" y2="38211"/>
                        <a14:foregroundMark x1="27949" y1="36992" x2="27949" y2="36992"/>
                        <a14:foregroundMark x1="17949" y1="39837" x2="17949" y2="39837"/>
                        <a14:foregroundMark x1="21026" y1="48780" x2="21026" y2="48780"/>
                        <a14:foregroundMark x1="17692" y1="45122" x2="17692" y2="45122"/>
                        <a14:foregroundMark x1="26667" y1="45528" x2="26667" y2="45528"/>
                        <a14:foregroundMark x1="13590" y1="26423" x2="13590" y2="26423"/>
                        <a14:foregroundMark x1="12308" y1="24797" x2="12308" y2="24797"/>
                        <a14:foregroundMark x1="15128" y1="28049" x2="15128" y2="28049"/>
                        <a14:foregroundMark x1="8718" y1="30488" x2="8718" y2="30488"/>
                        <a14:foregroundMark x1="12564" y1="41057" x2="12564" y2="41057"/>
                        <a14:foregroundMark x1="10513" y1="36179" x2="10513" y2="36179"/>
                        <a14:foregroundMark x1="12564" y1="47154" x2="12564" y2="47154"/>
                        <a14:foregroundMark x1="6667" y1="48374" x2="6667" y2="48374"/>
                        <a14:foregroundMark x1="63846" y1="72358" x2="63846" y2="72358"/>
                        <a14:foregroundMark x1="60000" y1="76016" x2="60000" y2="76016"/>
                        <a14:foregroundMark x1="44872" y1="71545" x2="44872" y2="71545"/>
                        <a14:foregroundMark x1="48462" y1="73984" x2="48462" y2="73984"/>
                        <a14:foregroundMark x1="41026" y1="83740" x2="41026" y2="83740"/>
                        <a14:foregroundMark x1="34615" y1="71951" x2="34615" y2="71951"/>
                        <a14:foregroundMark x1="36410" y1="73577" x2="36410" y2="73577"/>
                        <a14:foregroundMark x1="29744" y1="84959" x2="29744" y2="84959"/>
                        <a14:foregroundMark x1="23590" y1="73984" x2="23590" y2="73984"/>
                        <a14:foregroundMark x1="16410" y1="71951" x2="16410" y2="71951"/>
                        <a14:foregroundMark x1="17179" y1="73171" x2="17179" y2="73171"/>
                        <a14:foregroundMark x1="12051" y1="78049" x2="12051" y2="78049"/>
                        <a14:foregroundMark x1="10769" y1="73984" x2="10769" y2="73984"/>
                        <a14:foregroundMark x1="12051" y1="23171" x2="12051" y2="23171"/>
                        <a14:backgroundMark x1="12308" y1="23577" x2="12308" y2="23577"/>
                        <a14:backgroundMark x1="11282" y1="23577" x2="11282" y2="23577"/>
                        <a14:backgroundMark x1="11538" y1="23577" x2="11538" y2="23577"/>
                        <a14:backgroundMark x1="11538" y1="22358" x2="11538" y2="22358"/>
                        <a14:backgroundMark x1="12308" y1="23171" x2="12308" y2="23171"/>
                        <a14:backgroundMark x1="11538" y1="23171" x2="11538" y2="23171"/>
                        <a14:backgroundMark x1="12308" y1="23577" x2="12308" y2="23577"/>
                        <a14:backgroundMark x1="11538" y1="23171" x2="11538" y2="23171"/>
                        <a14:backgroundMark x1="11538" y1="23171" x2="11538" y2="23171"/>
                        <a14:backgroundMark x1="12051" y1="23577" x2="12051" y2="23577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4914" y="4404793"/>
            <a:ext cx="718033" cy="452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0" name="Picture 24">
            <a:extLst>
              <a:ext uri="{FF2B5EF4-FFF2-40B4-BE49-F238E27FC236}">
                <a16:creationId xmlns:a16="http://schemas.microsoft.com/office/drawing/2014/main" id="{A3097386-1EDA-39F1-375C-D25DEE49FC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7">
            <a:extLst>
              <a:ext uri="{BEBA8EAE-BF5A-486C-A8C5-ECC9F3942E4B}">
                <a14:imgProps xmlns:a14="http://schemas.microsoft.com/office/drawing/2010/main">
                  <a14:imgLayer r:embed="rId7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8768" y="4542214"/>
            <a:ext cx="577143" cy="210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1" name="Picture 26" descr="GitHub - OryxProject/oryx: Oryx 2: Lambda architecture on Apache Spark,  Apache Kafka for real-time large scale machine learning">
            <a:extLst>
              <a:ext uri="{FF2B5EF4-FFF2-40B4-BE49-F238E27FC236}">
                <a16:creationId xmlns:a16="http://schemas.microsoft.com/office/drawing/2014/main" id="{D91FB529-D0FD-DCA2-387D-C336D6535D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9">
            <a:extLst>
              <a:ext uri="{BEBA8EAE-BF5A-486C-A8C5-ECC9F3942E4B}">
                <a14:imgProps xmlns:a14="http://schemas.microsoft.com/office/drawing/2010/main">
                  <a14:imgLayer r:embed="rId8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9726" y="4448400"/>
            <a:ext cx="340703" cy="340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2" name="Picture 28">
            <a:extLst>
              <a:ext uri="{FF2B5EF4-FFF2-40B4-BE49-F238E27FC236}">
                <a16:creationId xmlns:a16="http://schemas.microsoft.com/office/drawing/2014/main" id="{7D27D907-D559-C2EB-E2AC-9C9CF15226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1">
            <a:extLst>
              <a:ext uri="{BEBA8EAE-BF5A-486C-A8C5-ECC9F3942E4B}">
                <a14:imgProps xmlns:a14="http://schemas.microsoft.com/office/drawing/2010/main">
                  <a14:imgLayer r:embed="rId8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2047" y="4882281"/>
            <a:ext cx="453861" cy="226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3" name="Picture 34">
            <a:extLst>
              <a:ext uri="{FF2B5EF4-FFF2-40B4-BE49-F238E27FC236}">
                <a16:creationId xmlns:a16="http://schemas.microsoft.com/office/drawing/2014/main" id="{6B51C825-185F-C6CF-DC79-6DC83A4746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3">
            <a:extLst>
              <a:ext uri="{BEBA8EAE-BF5A-486C-A8C5-ECC9F3942E4B}">
                <a14:imgProps xmlns:a14="http://schemas.microsoft.com/office/drawing/2010/main">
                  <a14:imgLayer r:embed="rId8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3372" y="4882281"/>
            <a:ext cx="494486" cy="208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34" name="Group 1633">
            <a:extLst>
              <a:ext uri="{FF2B5EF4-FFF2-40B4-BE49-F238E27FC236}">
                <a16:creationId xmlns:a16="http://schemas.microsoft.com/office/drawing/2014/main" id="{939BEB74-00AB-5A03-30E9-824F1E84B7F5}"/>
              </a:ext>
            </a:extLst>
          </p:cNvPr>
          <p:cNvGrpSpPr/>
          <p:nvPr/>
        </p:nvGrpSpPr>
        <p:grpSpPr>
          <a:xfrm>
            <a:off x="9233706" y="4089334"/>
            <a:ext cx="592381" cy="290405"/>
            <a:chOff x="4402524" y="4121762"/>
            <a:chExt cx="384498" cy="188494"/>
          </a:xfrm>
        </p:grpSpPr>
        <p:pic>
          <p:nvPicPr>
            <p:cNvPr id="1635" name="Picture 30">
              <a:extLst>
                <a:ext uri="{FF2B5EF4-FFF2-40B4-BE49-F238E27FC236}">
                  <a16:creationId xmlns:a16="http://schemas.microsoft.com/office/drawing/2014/main" id="{6C49C4D0-0778-7F47-F5E1-08E2B772CF0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5">
              <a:extLst>
                <a:ext uri="{BEBA8EAE-BF5A-486C-A8C5-ECC9F3942E4B}">
                  <a14:imgProps xmlns:a14="http://schemas.microsoft.com/office/drawing/2010/main">
                    <a14:imgLayer r:embed="rId86">
                      <a14:imgEffect>
                        <a14:saturation sat="0"/>
                      </a14:imgEffect>
                      <a14:imgEffect>
                        <a14:brightnessContrast bright="-8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9237"/>
            <a:stretch/>
          </p:blipFill>
          <p:spPr bwMode="auto">
            <a:xfrm>
              <a:off x="4402524" y="4121762"/>
              <a:ext cx="195180" cy="188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36" name="Picture 30">
              <a:extLst>
                <a:ext uri="{FF2B5EF4-FFF2-40B4-BE49-F238E27FC236}">
                  <a16:creationId xmlns:a16="http://schemas.microsoft.com/office/drawing/2014/main" id="{91F4857E-A827-80D6-F4BD-20BE364668C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7">
              <a:extLst>
                <a:ext uri="{BEBA8EAE-BF5A-486C-A8C5-ECC9F3942E4B}">
                  <a14:imgProps xmlns:a14="http://schemas.microsoft.com/office/drawing/2010/main">
                    <a14:imgLayer r:embed="rId8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237"/>
            <a:stretch/>
          </p:blipFill>
          <p:spPr bwMode="auto">
            <a:xfrm>
              <a:off x="4591842" y="4121762"/>
              <a:ext cx="195180" cy="188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637" name="Picture 1636">
            <a:extLst>
              <a:ext uri="{FF2B5EF4-FFF2-40B4-BE49-F238E27FC236}">
                <a16:creationId xmlns:a16="http://schemas.microsoft.com/office/drawing/2014/main" id="{1315B865-6A93-890F-558C-30D8FEB29BE3}"/>
              </a:ext>
            </a:extLst>
          </p:cNvPr>
          <p:cNvPicPr>
            <a:picLocks noChangeAspect="1"/>
          </p:cNvPicPr>
          <p:nvPr/>
        </p:nvPicPr>
        <p:blipFill>
          <a:blip r:embed="rId88"/>
          <a:stretch>
            <a:fillRect/>
          </a:stretch>
        </p:blipFill>
        <p:spPr>
          <a:xfrm>
            <a:off x="7781400" y="4097464"/>
            <a:ext cx="1371521" cy="358661"/>
          </a:xfrm>
          <a:prstGeom prst="rect">
            <a:avLst/>
          </a:prstGeom>
        </p:spPr>
      </p:pic>
      <p:pic>
        <p:nvPicPr>
          <p:cNvPr id="1640" name="Google Shape;54;p13">
            <a:extLst>
              <a:ext uri="{FF2B5EF4-FFF2-40B4-BE49-F238E27FC236}">
                <a16:creationId xmlns:a16="http://schemas.microsoft.com/office/drawing/2014/main" id="{95E1C118-B61C-8A48-1F7C-7836AFAAAF09}"/>
              </a:ext>
            </a:extLst>
          </p:cNvPr>
          <p:cNvPicPr preferRelativeResize="0"/>
          <p:nvPr/>
        </p:nvPicPr>
        <p:blipFill>
          <a:blip r:embed="rId89">
            <a:alphaModFix/>
            <a:extLst>
              <a:ext uri="{BEBA8EAE-BF5A-486C-A8C5-ECC9F3942E4B}">
                <a14:imgProps xmlns:a14="http://schemas.microsoft.com/office/drawing/2010/main">
                  <a14:imgLayer r:embed="rId90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862821" y="3470618"/>
            <a:ext cx="205415" cy="1949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641" name="Google Shape;55;p13">
            <a:extLst>
              <a:ext uri="{FF2B5EF4-FFF2-40B4-BE49-F238E27FC236}">
                <a16:creationId xmlns:a16="http://schemas.microsoft.com/office/drawing/2014/main" id="{CA744A5C-F15C-E124-CA8F-4EEC029E8D63}"/>
              </a:ext>
            </a:extLst>
          </p:cNvPr>
          <p:cNvPicPr preferRelativeResize="0"/>
          <p:nvPr/>
        </p:nvPicPr>
        <p:blipFill>
          <a:blip r:embed="rId91">
            <a:alphaModFix/>
            <a:extLst>
              <a:ext uri="{BEBA8EAE-BF5A-486C-A8C5-ECC9F3942E4B}">
                <a14:imgProps xmlns:a14="http://schemas.microsoft.com/office/drawing/2010/main">
                  <a14:imgLayer r:embed="rId92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64426" y="3165598"/>
            <a:ext cx="890500" cy="296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642" name="Google Shape;56;p13">
            <a:extLst>
              <a:ext uri="{FF2B5EF4-FFF2-40B4-BE49-F238E27FC236}">
                <a16:creationId xmlns:a16="http://schemas.microsoft.com/office/drawing/2014/main" id="{71E29BD3-EAE8-2657-2403-C138DF8F027F}"/>
              </a:ext>
            </a:extLst>
          </p:cNvPr>
          <p:cNvPicPr preferRelativeResize="0"/>
          <p:nvPr/>
        </p:nvPicPr>
        <p:blipFill>
          <a:blip r:embed="rId93">
            <a:alphaModFix/>
            <a:extLst>
              <a:ext uri="{BEBA8EAE-BF5A-486C-A8C5-ECC9F3942E4B}">
                <a14:imgProps xmlns:a14="http://schemas.microsoft.com/office/drawing/2010/main">
                  <a14:imgLayer r:embed="rId9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963201" y="3208795"/>
            <a:ext cx="446786" cy="174529"/>
          </a:xfrm>
          <a:prstGeom prst="rect">
            <a:avLst/>
          </a:prstGeom>
          <a:noFill/>
          <a:ln>
            <a:noFill/>
          </a:ln>
        </p:spPr>
      </p:pic>
      <p:pic>
        <p:nvPicPr>
          <p:cNvPr id="1643" name="Google Shape;58;p13">
            <a:extLst>
              <a:ext uri="{FF2B5EF4-FFF2-40B4-BE49-F238E27FC236}">
                <a16:creationId xmlns:a16="http://schemas.microsoft.com/office/drawing/2014/main" id="{8502326D-F12D-6D0C-0E54-4B58718CDD8F}"/>
              </a:ext>
            </a:extLst>
          </p:cNvPr>
          <p:cNvPicPr preferRelativeResize="0"/>
          <p:nvPr/>
        </p:nvPicPr>
        <p:blipFill>
          <a:blip r:embed="rId95">
            <a:alphaModFix/>
            <a:extLst>
              <a:ext uri="{BEBA8EAE-BF5A-486C-A8C5-ECC9F3942E4B}">
                <a14:imgProps xmlns:a14="http://schemas.microsoft.com/office/drawing/2010/main">
                  <a14:imgLayer r:embed="rId9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958779" y="3469772"/>
            <a:ext cx="684297" cy="1814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644" name="Google Shape;59;p13">
            <a:extLst>
              <a:ext uri="{FF2B5EF4-FFF2-40B4-BE49-F238E27FC236}">
                <a16:creationId xmlns:a16="http://schemas.microsoft.com/office/drawing/2014/main" id="{7EE23D29-DA4C-C454-037E-7D2D9CD77856}"/>
              </a:ext>
            </a:extLst>
          </p:cNvPr>
          <p:cNvPicPr preferRelativeResize="0"/>
          <p:nvPr/>
        </p:nvPicPr>
        <p:blipFill>
          <a:blip r:embed="rId97">
            <a:alphaModFix/>
            <a:extLst>
              <a:ext uri="{BEBA8EAE-BF5A-486C-A8C5-ECC9F3942E4B}">
                <a14:imgProps xmlns:a14="http://schemas.microsoft.com/office/drawing/2010/main">
                  <a14:imgLayer r:embed="rId9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27193" y="3198629"/>
            <a:ext cx="643105" cy="184495"/>
          </a:xfrm>
          <a:prstGeom prst="rect">
            <a:avLst/>
          </a:prstGeom>
          <a:noFill/>
          <a:ln>
            <a:noFill/>
          </a:ln>
        </p:spPr>
      </p:pic>
      <p:pic>
        <p:nvPicPr>
          <p:cNvPr id="1645" name="Google Shape;61;p13">
            <a:extLst>
              <a:ext uri="{FF2B5EF4-FFF2-40B4-BE49-F238E27FC236}">
                <a16:creationId xmlns:a16="http://schemas.microsoft.com/office/drawing/2014/main" id="{AFCE16A0-D25A-E473-2588-F2A97E56AE55}"/>
              </a:ext>
            </a:extLst>
          </p:cNvPr>
          <p:cNvPicPr preferRelativeResize="0"/>
          <p:nvPr/>
        </p:nvPicPr>
        <p:blipFill>
          <a:blip r:embed="rId99">
            <a:alphaModFix/>
            <a:extLst>
              <a:ext uri="{BEBA8EAE-BF5A-486C-A8C5-ECC9F3942E4B}">
                <a14:imgProps xmlns:a14="http://schemas.microsoft.com/office/drawing/2010/main">
                  <a14:imgLayer r:embed="rId100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186507" y="3407739"/>
            <a:ext cx="793734" cy="16432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46" name="Picture 2" descr="Shiny: la forma de crear un dashboard interactivo en R">
            <a:extLst>
              <a:ext uri="{FF2B5EF4-FFF2-40B4-BE49-F238E27FC236}">
                <a16:creationId xmlns:a16="http://schemas.microsoft.com/office/drawing/2014/main" id="{0F52BC0B-69CD-0129-DB03-17625CA829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1">
            <a:extLst>
              <a:ext uri="{BEBA8EAE-BF5A-486C-A8C5-ECC9F3942E4B}">
                <a14:imgProps xmlns:a14="http://schemas.microsoft.com/office/drawing/2010/main">
                  <a14:imgLayer r:embed="rId102">
                    <a14:imgEffect>
                      <a14:backgroundRemoval t="10000" b="90000" l="10000" r="900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9394" y="3624310"/>
            <a:ext cx="1012946" cy="487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9" name="Google Shape;86;p13">
            <a:extLst>
              <a:ext uri="{FF2B5EF4-FFF2-40B4-BE49-F238E27FC236}">
                <a16:creationId xmlns:a16="http://schemas.microsoft.com/office/drawing/2014/main" id="{9A6012E8-C2E0-C252-01C3-A657F4A6FF7A}"/>
              </a:ext>
            </a:extLst>
          </p:cNvPr>
          <p:cNvPicPr preferRelativeResize="0"/>
          <p:nvPr/>
        </p:nvPicPr>
        <p:blipFill>
          <a:blip r:embed="rId103">
            <a:alphaModFix/>
            <a:extLst>
              <a:ext uri="{BEBA8EAE-BF5A-486C-A8C5-ECC9F3942E4B}">
                <a14:imgProps xmlns:a14="http://schemas.microsoft.com/office/drawing/2010/main">
                  <a14:imgLayer r:embed="rId10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456991" y="2749382"/>
            <a:ext cx="1281832" cy="227202"/>
          </a:xfrm>
          <a:prstGeom prst="rect">
            <a:avLst/>
          </a:prstGeom>
          <a:noFill/>
          <a:ln>
            <a:noFill/>
          </a:ln>
        </p:spPr>
      </p:pic>
      <p:pic>
        <p:nvPicPr>
          <p:cNvPr id="1650" name="Google Shape;87;p13">
            <a:extLst>
              <a:ext uri="{FF2B5EF4-FFF2-40B4-BE49-F238E27FC236}">
                <a16:creationId xmlns:a16="http://schemas.microsoft.com/office/drawing/2014/main" id="{BEA16C7C-F8F2-3471-342B-6FBAF2C1C42B}"/>
              </a:ext>
            </a:extLst>
          </p:cNvPr>
          <p:cNvPicPr preferRelativeResize="0"/>
          <p:nvPr/>
        </p:nvPicPr>
        <p:blipFill>
          <a:blip r:embed="rId105">
            <a:alphaModFix/>
            <a:extLst>
              <a:ext uri="{BEBA8EAE-BF5A-486C-A8C5-ECC9F3942E4B}">
                <a14:imgProps xmlns:a14="http://schemas.microsoft.com/office/drawing/2010/main">
                  <a14:imgLayer r:embed="rId10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256399" y="2452769"/>
            <a:ext cx="718813" cy="37245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51" name="Google Shape;88;p13">
            <a:extLst>
              <a:ext uri="{FF2B5EF4-FFF2-40B4-BE49-F238E27FC236}">
                <a16:creationId xmlns:a16="http://schemas.microsoft.com/office/drawing/2014/main" id="{21CD889D-D20A-3AE7-1C95-1DE0EAF7B841}"/>
              </a:ext>
            </a:extLst>
          </p:cNvPr>
          <p:cNvPicPr preferRelativeResize="0"/>
          <p:nvPr/>
        </p:nvPicPr>
        <p:blipFill>
          <a:blip r:embed="rId107">
            <a:alphaModFix/>
            <a:extLst>
              <a:ext uri="{BEBA8EAE-BF5A-486C-A8C5-ECC9F3942E4B}">
                <a14:imgProps xmlns:a14="http://schemas.microsoft.com/office/drawing/2010/main">
                  <a14:imgLayer r:embed="rId108">
                    <a14:imgEffect>
                      <a14:backgroundRemoval t="9362" b="89362" l="3125" r="98828">
                        <a14:foregroundMark x1="12500" y1="40426" x2="12500" y2="40426"/>
                        <a14:foregroundMark x1="6172" y1="44255" x2="6172" y2="44255"/>
                        <a14:foregroundMark x1="3203" y1="48511" x2="3203" y2="48511"/>
                        <a14:foregroundMark x1="95547" y1="33191" x2="95547" y2="33191"/>
                        <a14:foregroundMark x1="98828" y1="58298" x2="98828" y2="58298"/>
                        <a14:backgroundMark x1="5703" y1="15745" x2="5703" y2="15745"/>
                        <a14:backgroundMark x1="5313" y1="21277" x2="5313" y2="21277"/>
                        <a14:backgroundMark x1="5391" y1="27234" x2="5313" y2="15745"/>
                        <a14:backgroundMark x1="6875" y1="14894" x2="7344" y2="15745"/>
                        <a14:backgroundMark x1="3750" y1="18298" x2="3750" y2="18298"/>
                        <a14:backgroundMark x1="3281" y1="68511" x2="3281" y2="68511"/>
                      </a14:backgroundRemoval>
                    </a14:imgEffect>
                    <a14:imgEffect>
                      <a14:saturation sat="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75022" y="2308986"/>
            <a:ext cx="707050" cy="12981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52" name="Google Shape;90;p13">
            <a:extLst>
              <a:ext uri="{FF2B5EF4-FFF2-40B4-BE49-F238E27FC236}">
                <a16:creationId xmlns:a16="http://schemas.microsoft.com/office/drawing/2014/main" id="{40203209-97D6-9638-68A4-680AE9288DA8}"/>
              </a:ext>
            </a:extLst>
          </p:cNvPr>
          <p:cNvPicPr preferRelativeResize="0"/>
          <p:nvPr/>
        </p:nvPicPr>
        <p:blipFill>
          <a:blip r:embed="rId109">
            <a:alphaModFix/>
            <a:extLst>
              <a:ext uri="{BEBA8EAE-BF5A-486C-A8C5-ECC9F3942E4B}">
                <a14:imgProps xmlns:a14="http://schemas.microsoft.com/office/drawing/2010/main">
                  <a14:imgLayer r:embed="rId110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116193" y="1768376"/>
            <a:ext cx="378390" cy="43861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53" name="Google Shape;91;p13">
            <a:extLst>
              <a:ext uri="{FF2B5EF4-FFF2-40B4-BE49-F238E27FC236}">
                <a16:creationId xmlns:a16="http://schemas.microsoft.com/office/drawing/2014/main" id="{681B7C5E-BF22-A3F5-7682-D3FF61F9F0D1}"/>
              </a:ext>
            </a:extLst>
          </p:cNvPr>
          <p:cNvPicPr preferRelativeResize="0"/>
          <p:nvPr/>
        </p:nvPicPr>
        <p:blipFill>
          <a:blip r:embed="rId111">
            <a:alphaModFix/>
            <a:extLst>
              <a:ext uri="{BEBA8EAE-BF5A-486C-A8C5-ECC9F3942E4B}">
                <a14:imgProps xmlns:a14="http://schemas.microsoft.com/office/drawing/2010/main">
                  <a14:imgLayer r:embed="rId112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00994" y="3284808"/>
            <a:ext cx="911420" cy="45571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54" name="Google Shape;92;p13">
            <a:extLst>
              <a:ext uri="{FF2B5EF4-FFF2-40B4-BE49-F238E27FC236}">
                <a16:creationId xmlns:a16="http://schemas.microsoft.com/office/drawing/2014/main" id="{9EF60360-5BE1-6648-943E-85B5E580BF28}"/>
              </a:ext>
            </a:extLst>
          </p:cNvPr>
          <p:cNvPicPr preferRelativeResize="0"/>
          <p:nvPr/>
        </p:nvPicPr>
        <p:blipFill>
          <a:blip r:embed="rId113">
            <a:alphaModFix/>
            <a:extLst>
              <a:ext uri="{BEBA8EAE-BF5A-486C-A8C5-ECC9F3942E4B}">
                <a14:imgProps xmlns:a14="http://schemas.microsoft.com/office/drawing/2010/main">
                  <a14:imgLayer r:embed="rId11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239068" y="3164038"/>
            <a:ext cx="357264" cy="400835"/>
          </a:xfrm>
          <a:prstGeom prst="rect">
            <a:avLst/>
          </a:prstGeom>
          <a:noFill/>
          <a:ln>
            <a:noFill/>
          </a:ln>
        </p:spPr>
      </p:pic>
      <p:pic>
        <p:nvPicPr>
          <p:cNvPr id="1655" name="Picture 2" descr="Datalore Software - 2023 Reviews, Pricing &amp; Demo">
            <a:extLst>
              <a:ext uri="{FF2B5EF4-FFF2-40B4-BE49-F238E27FC236}">
                <a16:creationId xmlns:a16="http://schemas.microsoft.com/office/drawing/2014/main" id="{4D694E5A-AB40-1F80-E978-5B0F882627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5">
            <a:extLst>
              <a:ext uri="{BEBA8EAE-BF5A-486C-A8C5-ECC9F3942E4B}">
                <a14:imgProps xmlns:a14="http://schemas.microsoft.com/office/drawing/2010/main">
                  <a14:imgLayer r:embed="rId116">
                    <a14:imgEffect>
                      <a14:saturation sat="0"/>
                    </a14:imgEffect>
                    <a14:imgEffect>
                      <a14:brightnessContrast bright="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0349" y="3166692"/>
            <a:ext cx="327233" cy="327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56" name="Picture 10" descr="Does anyone in here have a white logo for sublime? - General Discussion -  Sublime Forum">
            <a:extLst>
              <a:ext uri="{FF2B5EF4-FFF2-40B4-BE49-F238E27FC236}">
                <a16:creationId xmlns:a16="http://schemas.microsoft.com/office/drawing/2014/main" id="{749CABEA-E945-E287-D4D0-E5AADE1AF9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8802" y="3089759"/>
            <a:ext cx="337428" cy="337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57" name="Picture 2" descr="RStudio Logo Usage Guidelines - RStudio">
            <a:extLst>
              <a:ext uri="{FF2B5EF4-FFF2-40B4-BE49-F238E27FC236}">
                <a16:creationId xmlns:a16="http://schemas.microsoft.com/office/drawing/2014/main" id="{DEE2F921-5D56-E188-3CC6-74EFDA008E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9844" y="2797577"/>
            <a:ext cx="748899" cy="262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0" name="Picture 2">
            <a:extLst>
              <a:ext uri="{FF2B5EF4-FFF2-40B4-BE49-F238E27FC236}">
                <a16:creationId xmlns:a16="http://schemas.microsoft.com/office/drawing/2014/main" id="{7AEFEFC5-8816-CB00-DCBE-E991E14320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9">
            <a:extLst>
              <a:ext uri="{BEBA8EAE-BF5A-486C-A8C5-ECC9F3942E4B}">
                <a14:imgProps xmlns:a14="http://schemas.microsoft.com/office/drawing/2010/main">
                  <a14:imgLayer r:embed="rId12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0188" y="3865851"/>
            <a:ext cx="698807" cy="167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1" name="Picture 6" descr="Microsoft Azure — Implement Blob Storage part one | by Mustafa Saeed |  Medium">
            <a:extLst>
              <a:ext uri="{FF2B5EF4-FFF2-40B4-BE49-F238E27FC236}">
                <a16:creationId xmlns:a16="http://schemas.microsoft.com/office/drawing/2014/main" id="{B4A41E68-3238-09C4-52FE-9ED3A40EA5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1">
            <a:extLst>
              <a:ext uri="{BEBA8EAE-BF5A-486C-A8C5-ECC9F3942E4B}">
                <a14:imgProps xmlns:a14="http://schemas.microsoft.com/office/drawing/2010/main">
                  <a14:imgLayer r:embed="rId12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9946" y="5124538"/>
            <a:ext cx="902772" cy="386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2" name="Picture 8">
            <a:extLst>
              <a:ext uri="{FF2B5EF4-FFF2-40B4-BE49-F238E27FC236}">
                <a16:creationId xmlns:a16="http://schemas.microsoft.com/office/drawing/2014/main" id="{A2EA7AAD-CC93-1C54-D476-2B20418857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3">
            <a:extLst>
              <a:ext uri="{BEBA8EAE-BF5A-486C-A8C5-ECC9F3942E4B}">
                <a14:imgProps xmlns:a14="http://schemas.microsoft.com/office/drawing/2010/main">
                  <a14:imgLayer r:embed="rId12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8734" y="4702964"/>
            <a:ext cx="496695" cy="231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3" name="Picture 12" descr="Alation - Wikipedia">
            <a:extLst>
              <a:ext uri="{FF2B5EF4-FFF2-40B4-BE49-F238E27FC236}">
                <a16:creationId xmlns:a16="http://schemas.microsoft.com/office/drawing/2014/main" id="{AC7A4519-9457-36DD-40E1-3659AC189F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5">
            <a:extLst>
              <a:ext uri="{BEBA8EAE-BF5A-486C-A8C5-ECC9F3942E4B}">
                <a14:imgProps xmlns:a14="http://schemas.microsoft.com/office/drawing/2010/main">
                  <a14:imgLayer r:embed="rId12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9228" y="4952342"/>
            <a:ext cx="717075" cy="243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4" name="Picture 24">
            <a:extLst>
              <a:ext uri="{FF2B5EF4-FFF2-40B4-BE49-F238E27FC236}">
                <a16:creationId xmlns:a16="http://schemas.microsoft.com/office/drawing/2014/main" id="{6A8AAE4B-8FA0-0D32-D7D1-AAE63567A7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7">
            <a:extLst>
              <a:ext uri="{BEBA8EAE-BF5A-486C-A8C5-ECC9F3942E4B}">
                <a14:imgProps xmlns:a14="http://schemas.microsoft.com/office/drawing/2010/main">
                  <a14:imgLayer r:embed="rId128">
                    <a14:imgEffect>
                      <a14:saturation sat="0"/>
                    </a14:imgEffect>
                    <a14:imgEffect>
                      <a14:brightnessContrast bright="4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7728" y="3925788"/>
            <a:ext cx="332247" cy="298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5" name="Picture 28">
            <a:extLst>
              <a:ext uri="{FF2B5EF4-FFF2-40B4-BE49-F238E27FC236}">
                <a16:creationId xmlns:a16="http://schemas.microsoft.com/office/drawing/2014/main" id="{DCC084D9-382A-90E7-616B-C7AC42E14F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9">
            <a:extLst>
              <a:ext uri="{BEBA8EAE-BF5A-486C-A8C5-ECC9F3942E4B}">
                <a14:imgProps xmlns:a14="http://schemas.microsoft.com/office/drawing/2010/main">
                  <a14:imgLayer r:embed="rId13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1392" y="5306466"/>
            <a:ext cx="747851" cy="196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6" name="Picture 1665">
            <a:extLst>
              <a:ext uri="{FF2B5EF4-FFF2-40B4-BE49-F238E27FC236}">
                <a16:creationId xmlns:a16="http://schemas.microsoft.com/office/drawing/2014/main" id="{2CE5BD46-D66A-82FC-9633-C95A30408185}"/>
              </a:ext>
            </a:extLst>
          </p:cNvPr>
          <p:cNvPicPr>
            <a:picLocks noChangeAspect="1"/>
          </p:cNvPicPr>
          <p:nvPr/>
        </p:nvPicPr>
        <p:blipFill>
          <a:blip r:embed="rId131">
            <a:extLst>
              <a:ext uri="{BEBA8EAE-BF5A-486C-A8C5-ECC9F3942E4B}">
                <a14:imgProps xmlns:a14="http://schemas.microsoft.com/office/drawing/2010/main">
                  <a14:imgLayer r:embed="rId132">
                    <a14:imgEffect>
                      <a14:backgroundRemoval t="3911" b="92179" l="1214" r="98483">
                        <a14:foregroundMark x1="34750" y1="34078" x2="34750" y2="34078"/>
                        <a14:foregroundMark x1="37936" y1="34078" x2="32625" y2="35196"/>
                        <a14:foregroundMark x1="42185" y1="53073" x2="42185" y2="53073"/>
                        <a14:foregroundMark x1="49772" y1="54190" x2="49772" y2="54190"/>
                        <a14:foregroundMark x1="54780" y1="54190" x2="54780" y2="54190"/>
                        <a14:foregroundMark x1="61912" y1="45810" x2="61912" y2="45810"/>
                        <a14:foregroundMark x1="66920" y1="45251" x2="66920" y2="45251"/>
                        <a14:foregroundMark x1="70410" y1="48045" x2="70410" y2="48045"/>
                        <a14:foregroundMark x1="79211" y1="40782" x2="79211" y2="40782"/>
                        <a14:foregroundMark x1="86798" y1="59218" x2="86798" y2="59218"/>
                        <a14:foregroundMark x1="90744" y1="51397" x2="90744" y2="51397"/>
                        <a14:foregroundMark x1="94992" y1="48603" x2="94992" y2="48603"/>
                        <a14:foregroundMark x1="98634" y1="46369" x2="98634" y2="46369"/>
                        <a14:foregroundMark x1="17754" y1="4469" x2="17754" y2="4469"/>
                        <a14:foregroundMark x1="11836" y1="43017" x2="11836" y2="43017"/>
                        <a14:foregroundMark x1="14871" y1="92737" x2="14871" y2="92737"/>
                        <a14:foregroundMark x1="4401" y1="17877" x2="4401" y2="17877"/>
                        <a14:foregroundMark x1="1214" y1="48045" x2="1214" y2="48045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426525" y="4104854"/>
            <a:ext cx="604547" cy="164210"/>
          </a:xfrm>
          <a:prstGeom prst="rect">
            <a:avLst/>
          </a:prstGeom>
        </p:spPr>
      </p:pic>
      <p:pic>
        <p:nvPicPr>
          <p:cNvPr id="1667" name="Picture 8" descr="The data modeling platform for BigQuery">
            <a:extLst>
              <a:ext uri="{FF2B5EF4-FFF2-40B4-BE49-F238E27FC236}">
                <a16:creationId xmlns:a16="http://schemas.microsoft.com/office/drawing/2014/main" id="{ADC37268-524B-E04A-8EB1-5CD1AE2D3E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0614" y="4644499"/>
            <a:ext cx="595911" cy="203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8" name="Picture 14" descr="Google Cloud Platform Google Storage Cloud computing Google App Engine,  cloud computing, blue, angle png | PNGEgg">
            <a:extLst>
              <a:ext uri="{FF2B5EF4-FFF2-40B4-BE49-F238E27FC236}">
                <a16:creationId xmlns:a16="http://schemas.microsoft.com/office/drawing/2014/main" id="{0781C5EF-3C35-29E1-3050-86517A8EEF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4">
            <a:extLst>
              <a:ext uri="{BEBA8EAE-BF5A-486C-A8C5-ECC9F3942E4B}">
                <a14:imgProps xmlns:a14="http://schemas.microsoft.com/office/drawing/2010/main">
                  <a14:imgLayer r:embed="rId135">
                    <a14:imgEffect>
                      <a14:backgroundRemoval t="0" b="97004" l="1667" r="96000">
                        <a14:foregroundMark x1="71556" y1="27715" x2="71556" y2="27715"/>
                        <a14:foregroundMark x1="58222" y1="20225" x2="79778" y2="21348"/>
                        <a14:foregroundMark x1="58556" y1="9488" x2="49889" y2="11111"/>
                        <a14:foregroundMark x1="49889" y1="11111" x2="31889" y2="21099"/>
                        <a14:foregroundMark x1="82444" y1="41823" x2="82444" y2="41823"/>
                        <a14:foregroundMark x1="57556" y1="97004" x2="57556" y2="97004"/>
                        <a14:foregroundMark x1="96444" y1="50437" x2="94222" y2="42697"/>
                        <a14:foregroundMark x1="93889" y1="45443" x2="74000" y2="80899"/>
                        <a14:foregroundMark x1="74000" y1="80899" x2="67556" y2="87141"/>
                        <a14:foregroundMark x1="64333" y1="4994" x2="43556" y2="4744"/>
                        <a14:foregroundMark x1="7333" y1="49064" x2="7889" y2="41448"/>
                        <a14:foregroundMark x1="1667" y1="49688" x2="2444" y2="49313"/>
                        <a14:foregroundMark x1="33778" y1="2247" x2="51778" y2="0"/>
                        <a14:foregroundMark x1="61778" y1="41823" x2="61778" y2="41823"/>
                        <a14:foregroundMark x1="61222" y1="42697" x2="61556" y2="44569"/>
                        <a14:foregroundMark x1="61556" y1="57803" x2="61556" y2="56679"/>
                        <a14:backgroundMark x1="48111" y1="40325" x2="48111" y2="40325"/>
                        <a14:backgroundMark x1="51333" y1="42946" x2="51333" y2="42946"/>
                        <a14:backgroundMark x1="61556" y1="42322" x2="61556" y2="42322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8425" y="4366797"/>
            <a:ext cx="235185" cy="209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9" name="Picture 16" descr="Impala ODBC and JDBC Drivers - Simba - insightsoftware">
            <a:extLst>
              <a:ext uri="{FF2B5EF4-FFF2-40B4-BE49-F238E27FC236}">
                <a16:creationId xmlns:a16="http://schemas.microsoft.com/office/drawing/2014/main" id="{1B2F1E9E-46D6-BA3B-8EA4-6D84F69232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6">
            <a:extLst>
              <a:ext uri="{BEBA8EAE-BF5A-486C-A8C5-ECC9F3942E4B}">
                <a14:imgProps xmlns:a14="http://schemas.microsoft.com/office/drawing/2010/main">
                  <a14:imgLayer r:embed="rId13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7245" y="3648014"/>
            <a:ext cx="932579" cy="7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70" name="Group 1669">
            <a:extLst>
              <a:ext uri="{FF2B5EF4-FFF2-40B4-BE49-F238E27FC236}">
                <a16:creationId xmlns:a16="http://schemas.microsoft.com/office/drawing/2014/main" id="{B2EF582C-687F-61A4-9B3E-4CAFF222794A}"/>
              </a:ext>
            </a:extLst>
          </p:cNvPr>
          <p:cNvGrpSpPr/>
          <p:nvPr/>
        </p:nvGrpSpPr>
        <p:grpSpPr>
          <a:xfrm>
            <a:off x="6612589" y="4357577"/>
            <a:ext cx="671637" cy="290184"/>
            <a:chOff x="4727505" y="3229516"/>
            <a:chExt cx="503728" cy="217638"/>
          </a:xfrm>
        </p:grpSpPr>
        <p:pic>
          <p:nvPicPr>
            <p:cNvPr id="1671" name="Picture 20" descr="Data Analysis using Amazon Athena">
              <a:extLst>
                <a:ext uri="{FF2B5EF4-FFF2-40B4-BE49-F238E27FC236}">
                  <a16:creationId xmlns:a16="http://schemas.microsoft.com/office/drawing/2014/main" id="{4506FE41-B625-0349-0774-376AAAC1322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8">
              <a:extLst>
                <a:ext uri="{BEBA8EAE-BF5A-486C-A8C5-ECC9F3942E4B}">
                  <a14:imgProps xmlns:a14="http://schemas.microsoft.com/office/drawing/2010/main">
                    <a14:imgLayer r:embed="rId139">
                      <a14:imgEffect>
                        <a14:saturation sat="0"/>
                      </a14:imgEffect>
                      <a14:imgEffect>
                        <a14:brightnessContrast bright="2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0165"/>
            <a:stretch/>
          </p:blipFill>
          <p:spPr bwMode="auto">
            <a:xfrm>
              <a:off x="4727505" y="3233559"/>
              <a:ext cx="200658" cy="2135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72" name="Picture 20" descr="Data Analysis using Amazon Athena">
              <a:extLst>
                <a:ext uri="{FF2B5EF4-FFF2-40B4-BE49-F238E27FC236}">
                  <a16:creationId xmlns:a16="http://schemas.microsoft.com/office/drawing/2014/main" id="{3CCEF89F-3EAB-1240-0A75-A643AD7ECF3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0">
              <a:extLst>
                <a:ext uri="{BEBA8EAE-BF5A-486C-A8C5-ECC9F3942E4B}">
                  <a14:imgProps xmlns:a14="http://schemas.microsoft.com/office/drawing/2010/main">
                    <a14:imgLayer r:embed="rId139">
                      <a14:imgEffect>
                        <a14:saturation sat="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834"/>
            <a:stretch/>
          </p:blipFill>
          <p:spPr bwMode="auto">
            <a:xfrm>
              <a:off x="4928163" y="3229516"/>
              <a:ext cx="303070" cy="2135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73" name="Group 1672">
            <a:extLst>
              <a:ext uri="{FF2B5EF4-FFF2-40B4-BE49-F238E27FC236}">
                <a16:creationId xmlns:a16="http://schemas.microsoft.com/office/drawing/2014/main" id="{F790D1C3-6E10-2414-FE9C-4D5D65E85057}"/>
              </a:ext>
            </a:extLst>
          </p:cNvPr>
          <p:cNvGrpSpPr/>
          <p:nvPr/>
        </p:nvGrpSpPr>
        <p:grpSpPr>
          <a:xfrm>
            <a:off x="5823737" y="4968018"/>
            <a:ext cx="662380" cy="210329"/>
            <a:chOff x="4105486" y="3514706"/>
            <a:chExt cx="496785" cy="157747"/>
          </a:xfrm>
        </p:grpSpPr>
        <p:pic>
          <p:nvPicPr>
            <p:cNvPr id="1674" name="Picture 22" descr="Dremio | The Easy and Open Data Lakehouse">
              <a:extLst>
                <a:ext uri="{FF2B5EF4-FFF2-40B4-BE49-F238E27FC236}">
                  <a16:creationId xmlns:a16="http://schemas.microsoft.com/office/drawing/2014/main" id="{65B7093B-9E86-58B8-0559-D967FD25AA5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1">
              <a:extLst>
                <a:ext uri="{BEBA8EAE-BF5A-486C-A8C5-ECC9F3942E4B}">
                  <a14:imgProps xmlns:a14="http://schemas.microsoft.com/office/drawing/2010/main">
                    <a14:imgLayer r:embed="rId142">
                      <a14:imgEffect>
                        <a14:saturation sat="0"/>
                      </a14:imgEffect>
                      <a14:imgEffect>
                        <a14:brightnessContrast bright="1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r="58251" b="-1"/>
            <a:stretch/>
          </p:blipFill>
          <p:spPr bwMode="auto">
            <a:xfrm>
              <a:off x="4105486" y="3514706"/>
              <a:ext cx="207401" cy="157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75" name="Picture 22" descr="Dremio | The Easy and Open Data Lakehouse">
              <a:extLst>
                <a:ext uri="{FF2B5EF4-FFF2-40B4-BE49-F238E27FC236}">
                  <a16:creationId xmlns:a16="http://schemas.microsoft.com/office/drawing/2014/main" id="{F9EAE97B-7371-4131-17D2-3ED771F1248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3">
              <a:extLst>
                <a:ext uri="{BEBA8EAE-BF5A-486C-A8C5-ECC9F3942E4B}">
                  <a14:imgProps xmlns:a14="http://schemas.microsoft.com/office/drawing/2010/main">
                    <a14:imgLayer r:embed="rId142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31" t="18957" b="6188"/>
            <a:stretch/>
          </p:blipFill>
          <p:spPr bwMode="auto">
            <a:xfrm>
              <a:off x="4245734" y="3542718"/>
              <a:ext cx="356537" cy="118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677" name="Picture 1676" descr="Logo, company name&#10;&#10;Description automatically generated">
            <a:extLst>
              <a:ext uri="{FF2B5EF4-FFF2-40B4-BE49-F238E27FC236}">
                <a16:creationId xmlns:a16="http://schemas.microsoft.com/office/drawing/2014/main" id="{2B0455A1-39E3-2D03-E23F-90B90FAC7E5A}"/>
              </a:ext>
            </a:extLst>
          </p:cNvPr>
          <p:cNvPicPr>
            <a:picLocks noChangeAspect="1"/>
          </p:cNvPicPr>
          <p:nvPr/>
        </p:nvPicPr>
        <p:blipFill>
          <a:blip r:embed="rId144"/>
          <a:stretch>
            <a:fillRect/>
          </a:stretch>
        </p:blipFill>
        <p:spPr>
          <a:xfrm>
            <a:off x="6396064" y="3066813"/>
            <a:ext cx="753417" cy="238582"/>
          </a:xfrm>
          <a:prstGeom prst="rect">
            <a:avLst/>
          </a:prstGeom>
        </p:spPr>
      </p:pic>
      <p:sp>
        <p:nvSpPr>
          <p:cNvPr id="1685" name="Oval 1684">
            <a:extLst>
              <a:ext uri="{FF2B5EF4-FFF2-40B4-BE49-F238E27FC236}">
                <a16:creationId xmlns:a16="http://schemas.microsoft.com/office/drawing/2014/main" id="{647EBC7F-A53A-6C38-6A59-AABF31079397}"/>
              </a:ext>
            </a:extLst>
          </p:cNvPr>
          <p:cNvSpPr/>
          <p:nvPr/>
        </p:nvSpPr>
        <p:spPr>
          <a:xfrm>
            <a:off x="3141797" y="2497039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1686" name="Connector: Elbow 1685">
            <a:extLst>
              <a:ext uri="{FF2B5EF4-FFF2-40B4-BE49-F238E27FC236}">
                <a16:creationId xmlns:a16="http://schemas.microsoft.com/office/drawing/2014/main" id="{E786E70A-2095-9483-4696-F2104407FB6D}"/>
              </a:ext>
            </a:extLst>
          </p:cNvPr>
          <p:cNvCxnSpPr>
            <a:cxnSpLocks/>
          </p:cNvCxnSpPr>
          <p:nvPr/>
        </p:nvCxnSpPr>
        <p:spPr>
          <a:xfrm rot="10800000">
            <a:off x="993009" y="2739343"/>
            <a:ext cx="3483387" cy="285358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7" name="Oval 1686">
            <a:extLst>
              <a:ext uri="{FF2B5EF4-FFF2-40B4-BE49-F238E27FC236}">
                <a16:creationId xmlns:a16="http://schemas.microsoft.com/office/drawing/2014/main" id="{DD1C072E-97F1-9F99-B780-442416D821BA}"/>
              </a:ext>
            </a:extLst>
          </p:cNvPr>
          <p:cNvSpPr/>
          <p:nvPr/>
        </p:nvSpPr>
        <p:spPr>
          <a:xfrm>
            <a:off x="4460743" y="2990978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691" name="TextBox 1690">
            <a:extLst>
              <a:ext uri="{FF2B5EF4-FFF2-40B4-BE49-F238E27FC236}">
                <a16:creationId xmlns:a16="http://schemas.microsoft.com/office/drawing/2014/main" id="{E885CA38-B8F6-1AA4-23F6-9097EB50E621}"/>
              </a:ext>
            </a:extLst>
          </p:cNvPr>
          <p:cNvSpPr txBox="1"/>
          <p:nvPr/>
        </p:nvSpPr>
        <p:spPr>
          <a:xfrm>
            <a:off x="952424" y="2155748"/>
            <a:ext cx="16890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B9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Infrastructure territory</a:t>
            </a:r>
          </a:p>
        </p:txBody>
      </p:sp>
      <p:cxnSp>
        <p:nvCxnSpPr>
          <p:cNvPr id="1696" name="Connector: Elbow 1695">
            <a:extLst>
              <a:ext uri="{FF2B5EF4-FFF2-40B4-BE49-F238E27FC236}">
                <a16:creationId xmlns:a16="http://schemas.microsoft.com/office/drawing/2014/main" id="{F3115B97-B7BC-37B0-1C91-74AB8D916E50}"/>
              </a:ext>
            </a:extLst>
          </p:cNvPr>
          <p:cNvCxnSpPr>
            <a:cxnSpLocks/>
          </p:cNvCxnSpPr>
          <p:nvPr/>
        </p:nvCxnSpPr>
        <p:spPr>
          <a:xfrm rot="10800000">
            <a:off x="550238" y="3635987"/>
            <a:ext cx="2753220" cy="275015"/>
          </a:xfrm>
          <a:prstGeom prst="bentConnector3">
            <a:avLst>
              <a:gd name="adj1" fmla="val 58149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7" name="Oval 1696">
            <a:extLst>
              <a:ext uri="{FF2B5EF4-FFF2-40B4-BE49-F238E27FC236}">
                <a16:creationId xmlns:a16="http://schemas.microsoft.com/office/drawing/2014/main" id="{CBFE2427-8784-CCD9-ED7D-27B2576E3CF6}"/>
              </a:ext>
            </a:extLst>
          </p:cNvPr>
          <p:cNvSpPr/>
          <p:nvPr/>
        </p:nvSpPr>
        <p:spPr>
          <a:xfrm>
            <a:off x="3287806" y="3877274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00" name="TextBox 1699">
            <a:extLst>
              <a:ext uri="{FF2B5EF4-FFF2-40B4-BE49-F238E27FC236}">
                <a16:creationId xmlns:a16="http://schemas.microsoft.com/office/drawing/2014/main" id="{A3A511EC-143B-D17A-06A1-86006450F840}"/>
              </a:ext>
            </a:extLst>
          </p:cNvPr>
          <p:cNvSpPr txBox="1"/>
          <p:nvPr/>
        </p:nvSpPr>
        <p:spPr>
          <a:xfrm>
            <a:off x="549402" y="3055068"/>
            <a:ext cx="1202681" cy="58477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B9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Visualization territory</a:t>
            </a:r>
          </a:p>
        </p:txBody>
      </p:sp>
      <p:cxnSp>
        <p:nvCxnSpPr>
          <p:cNvPr id="1704" name="Connector: Elbow 1703">
            <a:extLst>
              <a:ext uri="{FF2B5EF4-FFF2-40B4-BE49-F238E27FC236}">
                <a16:creationId xmlns:a16="http://schemas.microsoft.com/office/drawing/2014/main" id="{86F69606-5292-3851-85E7-B32CC100E6DD}"/>
              </a:ext>
            </a:extLst>
          </p:cNvPr>
          <p:cNvCxnSpPr>
            <a:cxnSpLocks/>
          </p:cNvCxnSpPr>
          <p:nvPr/>
        </p:nvCxnSpPr>
        <p:spPr>
          <a:xfrm rot="10800000" flipV="1">
            <a:off x="549403" y="4114855"/>
            <a:ext cx="3717621" cy="494516"/>
          </a:xfrm>
          <a:prstGeom prst="bentConnector3">
            <a:avLst>
              <a:gd name="adj1" fmla="val 60362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5" name="Oval 1704">
            <a:extLst>
              <a:ext uri="{FF2B5EF4-FFF2-40B4-BE49-F238E27FC236}">
                <a16:creationId xmlns:a16="http://schemas.microsoft.com/office/drawing/2014/main" id="{5875CB7E-283C-AAED-A9D8-9A70C34BFD88}"/>
              </a:ext>
            </a:extLst>
          </p:cNvPr>
          <p:cNvSpPr/>
          <p:nvPr/>
        </p:nvSpPr>
        <p:spPr>
          <a:xfrm>
            <a:off x="4251369" y="4081134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07" name="TextBox 1706">
            <a:extLst>
              <a:ext uri="{FF2B5EF4-FFF2-40B4-BE49-F238E27FC236}">
                <a16:creationId xmlns:a16="http://schemas.microsoft.com/office/drawing/2014/main" id="{05319FEB-2CE3-406E-E587-2A3C158392F6}"/>
              </a:ext>
            </a:extLst>
          </p:cNvPr>
          <p:cNvSpPr txBox="1"/>
          <p:nvPr/>
        </p:nvSpPr>
        <p:spPr>
          <a:xfrm>
            <a:off x="550863" y="4027266"/>
            <a:ext cx="1602820" cy="58477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Orchestrator precinct</a:t>
            </a:r>
          </a:p>
        </p:txBody>
      </p:sp>
      <p:cxnSp>
        <p:nvCxnSpPr>
          <p:cNvPr id="1729" name="Connector: Elbow 1728">
            <a:extLst>
              <a:ext uri="{FF2B5EF4-FFF2-40B4-BE49-F238E27FC236}">
                <a16:creationId xmlns:a16="http://schemas.microsoft.com/office/drawing/2014/main" id="{9613257C-EDF5-7313-4A1A-960BAB2E19D5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05172" y="5176498"/>
            <a:ext cx="2529129" cy="305253"/>
          </a:xfrm>
          <a:prstGeom prst="bentConnector3">
            <a:avLst>
              <a:gd name="adj1" fmla="val 41129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0" name="Oval 1729">
            <a:extLst>
              <a:ext uri="{FF2B5EF4-FFF2-40B4-BE49-F238E27FC236}">
                <a16:creationId xmlns:a16="http://schemas.microsoft.com/office/drawing/2014/main" id="{9F4F2961-A848-7C81-CD32-C59FC645A6ED}"/>
              </a:ext>
            </a:extLst>
          </p:cNvPr>
          <p:cNvSpPr/>
          <p:nvPr/>
        </p:nvSpPr>
        <p:spPr>
          <a:xfrm>
            <a:off x="3518644" y="5142780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32" name="TextBox 1731">
            <a:extLst>
              <a:ext uri="{FF2B5EF4-FFF2-40B4-BE49-F238E27FC236}">
                <a16:creationId xmlns:a16="http://schemas.microsoft.com/office/drawing/2014/main" id="{7E7AD300-2A62-088A-3036-97EFD2BCBA35}"/>
              </a:ext>
            </a:extLst>
          </p:cNvPr>
          <p:cNvSpPr txBox="1"/>
          <p:nvPr/>
        </p:nvSpPr>
        <p:spPr>
          <a:xfrm>
            <a:off x="1111937" y="4899038"/>
            <a:ext cx="12762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Big Data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Distribute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E5A7595-43C4-35C9-69ED-351F9F7C481C}"/>
              </a:ext>
            </a:extLst>
          </p:cNvPr>
          <p:cNvPicPr>
            <a:picLocks noChangeAspect="1"/>
          </p:cNvPicPr>
          <p:nvPr/>
        </p:nvPicPr>
        <p:blipFill rotWithShape="1">
          <a:blip r:embed="rId145"/>
          <a:srcRect l="23496" t="39347" r="69812" b="56595"/>
          <a:stretch/>
        </p:blipFill>
        <p:spPr>
          <a:xfrm>
            <a:off x="3150218" y="3616860"/>
            <a:ext cx="520677" cy="226205"/>
          </a:xfrm>
          <a:prstGeom prst="rect">
            <a:avLst/>
          </a:prstGeom>
        </p:spPr>
      </p:pic>
      <p:cxnSp>
        <p:nvCxnSpPr>
          <p:cNvPr id="1736" name="Connector: Elbow 1735">
            <a:extLst>
              <a:ext uri="{FF2B5EF4-FFF2-40B4-BE49-F238E27FC236}">
                <a16:creationId xmlns:a16="http://schemas.microsoft.com/office/drawing/2014/main" id="{613EB9D2-0C84-2887-7296-CD8B55327B9C}"/>
              </a:ext>
            </a:extLst>
          </p:cNvPr>
          <p:cNvCxnSpPr>
            <a:cxnSpLocks/>
          </p:cNvCxnSpPr>
          <p:nvPr/>
        </p:nvCxnSpPr>
        <p:spPr>
          <a:xfrm rot="10800000" flipV="1">
            <a:off x="1778737" y="5432676"/>
            <a:ext cx="2679112" cy="738539"/>
          </a:xfrm>
          <a:prstGeom prst="bentConnector3">
            <a:avLst>
              <a:gd name="adj1" fmla="val -1045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7" name="Oval 1736">
            <a:extLst>
              <a:ext uri="{FF2B5EF4-FFF2-40B4-BE49-F238E27FC236}">
                <a16:creationId xmlns:a16="http://schemas.microsoft.com/office/drawing/2014/main" id="{516F1EF3-F01A-FDD2-8AD2-2FB43F7C663A}"/>
              </a:ext>
            </a:extLst>
          </p:cNvPr>
          <p:cNvSpPr/>
          <p:nvPr/>
        </p:nvSpPr>
        <p:spPr>
          <a:xfrm>
            <a:off x="4448583" y="5398960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43" name="TextBox 1742">
            <a:extLst>
              <a:ext uri="{FF2B5EF4-FFF2-40B4-BE49-F238E27FC236}">
                <a16:creationId xmlns:a16="http://schemas.microsoft.com/office/drawing/2014/main" id="{BCBDCC97-2975-911B-0480-7876A4B0DA77}"/>
              </a:ext>
            </a:extLst>
          </p:cNvPr>
          <p:cNvSpPr txBox="1"/>
          <p:nvPr/>
        </p:nvSpPr>
        <p:spPr>
          <a:xfrm>
            <a:off x="1743079" y="5823426"/>
            <a:ext cx="14242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NOSQL</a:t>
            </a:r>
          </a:p>
        </p:txBody>
      </p:sp>
      <p:cxnSp>
        <p:nvCxnSpPr>
          <p:cNvPr id="1747" name="Connector: Elbow 1746">
            <a:extLst>
              <a:ext uri="{FF2B5EF4-FFF2-40B4-BE49-F238E27FC236}">
                <a16:creationId xmlns:a16="http://schemas.microsoft.com/office/drawing/2014/main" id="{F286FD54-D97A-D4EC-3496-0DE2D9516FF9}"/>
              </a:ext>
            </a:extLst>
          </p:cNvPr>
          <p:cNvCxnSpPr>
            <a:cxnSpLocks/>
          </p:cNvCxnSpPr>
          <p:nvPr/>
        </p:nvCxnSpPr>
        <p:spPr>
          <a:xfrm rot="10800000" flipV="1">
            <a:off x="5075924" y="5432671"/>
            <a:ext cx="1974305" cy="736184"/>
          </a:xfrm>
          <a:prstGeom prst="bentConnector3">
            <a:avLst>
              <a:gd name="adj1" fmla="val -818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8" name="Oval 1747">
            <a:extLst>
              <a:ext uri="{FF2B5EF4-FFF2-40B4-BE49-F238E27FC236}">
                <a16:creationId xmlns:a16="http://schemas.microsoft.com/office/drawing/2014/main" id="{CEAEFC52-1108-783B-7C9B-C66C804CFA15}"/>
              </a:ext>
            </a:extLst>
          </p:cNvPr>
          <p:cNvSpPr/>
          <p:nvPr/>
        </p:nvSpPr>
        <p:spPr>
          <a:xfrm>
            <a:off x="7040960" y="5398960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49" name="TextBox 1748">
            <a:extLst>
              <a:ext uri="{FF2B5EF4-FFF2-40B4-BE49-F238E27FC236}">
                <a16:creationId xmlns:a16="http://schemas.microsoft.com/office/drawing/2014/main" id="{347AD6B7-3E1F-8694-8816-D24E06FF2BA3}"/>
              </a:ext>
            </a:extLst>
          </p:cNvPr>
          <p:cNvSpPr txBox="1"/>
          <p:nvPr/>
        </p:nvSpPr>
        <p:spPr>
          <a:xfrm>
            <a:off x="5671175" y="5830301"/>
            <a:ext cx="14039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Warehousing</a:t>
            </a:r>
          </a:p>
        </p:txBody>
      </p:sp>
      <p:cxnSp>
        <p:nvCxnSpPr>
          <p:cNvPr id="1759" name="Connector: Elbow 1758">
            <a:extLst>
              <a:ext uri="{FF2B5EF4-FFF2-40B4-BE49-F238E27FC236}">
                <a16:creationId xmlns:a16="http://schemas.microsoft.com/office/drawing/2014/main" id="{C38EA162-6F1E-9002-41C9-A930AAD03FB3}"/>
              </a:ext>
            </a:extLst>
          </p:cNvPr>
          <p:cNvCxnSpPr>
            <a:cxnSpLocks/>
          </p:cNvCxnSpPr>
          <p:nvPr/>
        </p:nvCxnSpPr>
        <p:spPr>
          <a:xfrm rot="10800000" flipV="1">
            <a:off x="8149584" y="4958764"/>
            <a:ext cx="1554554" cy="1203215"/>
          </a:xfrm>
          <a:prstGeom prst="bentConnector3">
            <a:avLst>
              <a:gd name="adj1" fmla="val 292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0" name="Oval 1759">
            <a:extLst>
              <a:ext uri="{FF2B5EF4-FFF2-40B4-BE49-F238E27FC236}">
                <a16:creationId xmlns:a16="http://schemas.microsoft.com/office/drawing/2014/main" id="{88DA3EDB-F13F-B7DF-7A75-14BA2C1851D5}"/>
              </a:ext>
            </a:extLst>
          </p:cNvPr>
          <p:cNvSpPr/>
          <p:nvPr/>
        </p:nvSpPr>
        <p:spPr>
          <a:xfrm>
            <a:off x="9670323" y="4906023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61" name="TextBox 1760">
            <a:extLst>
              <a:ext uri="{FF2B5EF4-FFF2-40B4-BE49-F238E27FC236}">
                <a16:creationId xmlns:a16="http://schemas.microsoft.com/office/drawing/2014/main" id="{667BE964-E240-B0EE-C592-95CC570E0104}"/>
              </a:ext>
            </a:extLst>
          </p:cNvPr>
          <p:cNvSpPr txBox="1"/>
          <p:nvPr/>
        </p:nvSpPr>
        <p:spPr>
          <a:xfrm>
            <a:off x="8115836" y="5830301"/>
            <a:ext cx="1602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Real-time island</a:t>
            </a:r>
          </a:p>
        </p:txBody>
      </p:sp>
      <p:cxnSp>
        <p:nvCxnSpPr>
          <p:cNvPr id="1776" name="Connector: Elbow 1775">
            <a:extLst>
              <a:ext uri="{FF2B5EF4-FFF2-40B4-BE49-F238E27FC236}">
                <a16:creationId xmlns:a16="http://schemas.microsoft.com/office/drawing/2014/main" id="{58C2B7F6-B4CF-4EDC-1565-78848DC30776}"/>
              </a:ext>
            </a:extLst>
          </p:cNvPr>
          <p:cNvCxnSpPr>
            <a:cxnSpLocks/>
          </p:cNvCxnSpPr>
          <p:nvPr/>
        </p:nvCxnSpPr>
        <p:spPr>
          <a:xfrm>
            <a:off x="3513520" y="1469099"/>
            <a:ext cx="1538786" cy="467290"/>
          </a:xfrm>
          <a:prstGeom prst="bentConnector3">
            <a:avLst>
              <a:gd name="adj1" fmla="val 100281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2" name="Oval 1781">
            <a:extLst>
              <a:ext uri="{FF2B5EF4-FFF2-40B4-BE49-F238E27FC236}">
                <a16:creationId xmlns:a16="http://schemas.microsoft.com/office/drawing/2014/main" id="{C7ADCDFE-6901-3807-6180-609A78F3D0AA}"/>
              </a:ext>
            </a:extLst>
          </p:cNvPr>
          <p:cNvSpPr/>
          <p:nvPr/>
        </p:nvSpPr>
        <p:spPr>
          <a:xfrm>
            <a:off x="5023311" y="1948156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83" name="TextBox 1782">
            <a:extLst>
              <a:ext uri="{FF2B5EF4-FFF2-40B4-BE49-F238E27FC236}">
                <a16:creationId xmlns:a16="http://schemas.microsoft.com/office/drawing/2014/main" id="{5137B04E-EEA8-13DA-29BE-4772CAF776F0}"/>
              </a:ext>
            </a:extLst>
          </p:cNvPr>
          <p:cNvSpPr txBox="1"/>
          <p:nvPr/>
        </p:nvSpPr>
        <p:spPr>
          <a:xfrm>
            <a:off x="3475437" y="1124998"/>
            <a:ext cx="16890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B9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Statistician yard</a:t>
            </a:r>
          </a:p>
        </p:txBody>
      </p:sp>
      <p:cxnSp>
        <p:nvCxnSpPr>
          <p:cNvPr id="1788" name="Connector: Elbow 1787">
            <a:extLst>
              <a:ext uri="{FF2B5EF4-FFF2-40B4-BE49-F238E27FC236}">
                <a16:creationId xmlns:a16="http://schemas.microsoft.com/office/drawing/2014/main" id="{E739C2E0-1A54-E628-CE96-F375CAF22FC8}"/>
              </a:ext>
            </a:extLst>
          </p:cNvPr>
          <p:cNvCxnSpPr>
            <a:cxnSpLocks/>
          </p:cNvCxnSpPr>
          <p:nvPr/>
        </p:nvCxnSpPr>
        <p:spPr>
          <a:xfrm rot="10800000" flipV="1">
            <a:off x="6845213" y="1470509"/>
            <a:ext cx="2230221" cy="465875"/>
          </a:xfrm>
          <a:prstGeom prst="bentConnector3">
            <a:avLst>
              <a:gd name="adj1" fmla="val 100147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9" name="Oval 1788">
            <a:extLst>
              <a:ext uri="{FF2B5EF4-FFF2-40B4-BE49-F238E27FC236}">
                <a16:creationId xmlns:a16="http://schemas.microsoft.com/office/drawing/2014/main" id="{EC0041B0-A5E9-E6D5-1452-2EA26819FB3E}"/>
              </a:ext>
            </a:extLst>
          </p:cNvPr>
          <p:cNvSpPr/>
          <p:nvPr/>
        </p:nvSpPr>
        <p:spPr>
          <a:xfrm>
            <a:off x="6816211" y="1948156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95" name="TextBox 1794">
            <a:extLst>
              <a:ext uri="{FF2B5EF4-FFF2-40B4-BE49-F238E27FC236}">
                <a16:creationId xmlns:a16="http://schemas.microsoft.com/office/drawing/2014/main" id="{1A1BDBC1-BA70-778A-E466-E5F092EA1FAE}"/>
              </a:ext>
            </a:extLst>
          </p:cNvPr>
          <p:cNvSpPr txBox="1"/>
          <p:nvPr/>
        </p:nvSpPr>
        <p:spPr>
          <a:xfrm>
            <a:off x="6809251" y="1124998"/>
            <a:ext cx="23783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Distributed magic county</a:t>
            </a:r>
          </a:p>
        </p:txBody>
      </p:sp>
      <p:cxnSp>
        <p:nvCxnSpPr>
          <p:cNvPr id="1798" name="Connector: Elbow 1797">
            <a:extLst>
              <a:ext uri="{FF2B5EF4-FFF2-40B4-BE49-F238E27FC236}">
                <a16:creationId xmlns:a16="http://schemas.microsoft.com/office/drawing/2014/main" id="{12D0B8ED-E446-16C0-E972-1B3B7497B476}"/>
              </a:ext>
            </a:extLst>
          </p:cNvPr>
          <p:cNvCxnSpPr>
            <a:cxnSpLocks/>
            <a:endCxn id="1799" idx="6"/>
          </p:cNvCxnSpPr>
          <p:nvPr/>
        </p:nvCxnSpPr>
        <p:spPr>
          <a:xfrm rot="10800000" flipV="1">
            <a:off x="8769848" y="2052898"/>
            <a:ext cx="1550812" cy="273661"/>
          </a:xfrm>
          <a:prstGeom prst="bentConnector3">
            <a:avLst>
              <a:gd name="adj1" fmla="val 65287"/>
            </a:avLst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9" name="Oval 1798">
            <a:extLst>
              <a:ext uri="{FF2B5EF4-FFF2-40B4-BE49-F238E27FC236}">
                <a16:creationId xmlns:a16="http://schemas.microsoft.com/office/drawing/2014/main" id="{BDA40AD9-CCD7-2AC3-981E-AADBC5C844B8}"/>
              </a:ext>
            </a:extLst>
          </p:cNvPr>
          <p:cNvSpPr/>
          <p:nvPr/>
        </p:nvSpPr>
        <p:spPr>
          <a:xfrm>
            <a:off x="8701434" y="2291572"/>
            <a:ext cx="68414" cy="6997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806" name="TextBox 1805">
            <a:extLst>
              <a:ext uri="{FF2B5EF4-FFF2-40B4-BE49-F238E27FC236}">
                <a16:creationId xmlns:a16="http://schemas.microsoft.com/office/drawing/2014/main" id="{701D81BB-1F3E-27FD-264D-98FA1EDADA9D}"/>
              </a:ext>
            </a:extLst>
          </p:cNvPr>
          <p:cNvSpPr txBox="1"/>
          <p:nvPr/>
        </p:nvSpPr>
        <p:spPr>
          <a:xfrm>
            <a:off x="9264297" y="1712584"/>
            <a:ext cx="16890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B9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Ide Valley</a:t>
            </a:r>
          </a:p>
        </p:txBody>
      </p:sp>
      <p:sp>
        <p:nvSpPr>
          <p:cNvPr id="1807" name="TextBox 1806">
            <a:extLst>
              <a:ext uri="{FF2B5EF4-FFF2-40B4-BE49-F238E27FC236}">
                <a16:creationId xmlns:a16="http://schemas.microsoft.com/office/drawing/2014/main" id="{04B1D9F0-ABAE-4704-640A-E689EE29C10E}"/>
              </a:ext>
            </a:extLst>
          </p:cNvPr>
          <p:cNvSpPr txBox="1"/>
          <p:nvPr/>
        </p:nvSpPr>
        <p:spPr>
          <a:xfrm>
            <a:off x="9309562" y="2055974"/>
            <a:ext cx="11479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B9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Notebook quarter</a:t>
            </a:r>
          </a:p>
        </p:txBody>
      </p:sp>
      <p:cxnSp>
        <p:nvCxnSpPr>
          <p:cNvPr id="1811" name="Straight Connector 1810">
            <a:extLst>
              <a:ext uri="{FF2B5EF4-FFF2-40B4-BE49-F238E27FC236}">
                <a16:creationId xmlns:a16="http://schemas.microsoft.com/office/drawing/2014/main" id="{B4A9E89D-EFBD-14AE-3E42-6C2219C7E969}"/>
              </a:ext>
            </a:extLst>
          </p:cNvPr>
          <p:cNvCxnSpPr>
            <a:cxnSpLocks/>
          </p:cNvCxnSpPr>
          <p:nvPr/>
        </p:nvCxnSpPr>
        <p:spPr>
          <a:xfrm>
            <a:off x="10507135" y="3308447"/>
            <a:ext cx="1099712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2" name="TextBox 1811">
            <a:extLst>
              <a:ext uri="{FF2B5EF4-FFF2-40B4-BE49-F238E27FC236}">
                <a16:creationId xmlns:a16="http://schemas.microsoft.com/office/drawing/2014/main" id="{700072E3-8215-64A1-02A7-DBF185EE1268}"/>
              </a:ext>
            </a:extLst>
          </p:cNvPr>
          <p:cNvSpPr txBox="1"/>
          <p:nvPr/>
        </p:nvSpPr>
        <p:spPr>
          <a:xfrm>
            <a:off x="10431812" y="2844637"/>
            <a:ext cx="12093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B9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Capabilities we already have</a:t>
            </a:r>
          </a:p>
        </p:txBody>
      </p:sp>
      <p:cxnSp>
        <p:nvCxnSpPr>
          <p:cNvPr id="1815" name="Straight Connector 1814">
            <a:extLst>
              <a:ext uri="{FF2B5EF4-FFF2-40B4-BE49-F238E27FC236}">
                <a16:creationId xmlns:a16="http://schemas.microsoft.com/office/drawing/2014/main" id="{AFC41348-BBEE-8F0A-F2AA-20A62CD68BA9}"/>
              </a:ext>
            </a:extLst>
          </p:cNvPr>
          <p:cNvCxnSpPr>
            <a:cxnSpLocks/>
          </p:cNvCxnSpPr>
          <p:nvPr/>
        </p:nvCxnSpPr>
        <p:spPr>
          <a:xfrm>
            <a:off x="10507135" y="3950168"/>
            <a:ext cx="1103522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6" name="TextBox 1815">
            <a:extLst>
              <a:ext uri="{FF2B5EF4-FFF2-40B4-BE49-F238E27FC236}">
                <a16:creationId xmlns:a16="http://schemas.microsoft.com/office/drawing/2014/main" id="{CC6A77D7-CC9F-3D13-501C-F4BFF4847516}"/>
              </a:ext>
            </a:extLst>
          </p:cNvPr>
          <p:cNvSpPr txBox="1"/>
          <p:nvPr/>
        </p:nvSpPr>
        <p:spPr>
          <a:xfrm>
            <a:off x="10431811" y="3493925"/>
            <a:ext cx="12093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Capabilities we 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are building</a:t>
            </a:r>
          </a:p>
        </p:txBody>
      </p:sp>
      <p:sp>
        <p:nvSpPr>
          <p:cNvPr id="1821" name="Rectangle 1820">
            <a:extLst>
              <a:ext uri="{FF2B5EF4-FFF2-40B4-BE49-F238E27FC236}">
                <a16:creationId xmlns:a16="http://schemas.microsoft.com/office/drawing/2014/main" id="{D1873EC6-A5FB-1D32-1BB7-CB7487E8FE21}"/>
              </a:ext>
            </a:extLst>
          </p:cNvPr>
          <p:cNvSpPr/>
          <p:nvPr/>
        </p:nvSpPr>
        <p:spPr>
          <a:xfrm>
            <a:off x="10389443" y="2955695"/>
            <a:ext cx="72172" cy="7217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822" name="Rectangle 1821">
            <a:extLst>
              <a:ext uri="{FF2B5EF4-FFF2-40B4-BE49-F238E27FC236}">
                <a16:creationId xmlns:a16="http://schemas.microsoft.com/office/drawing/2014/main" id="{1B40D241-C8CB-BC27-8226-9A1F1B9FAE1B}"/>
              </a:ext>
            </a:extLst>
          </p:cNvPr>
          <p:cNvSpPr/>
          <p:nvPr/>
        </p:nvSpPr>
        <p:spPr>
          <a:xfrm>
            <a:off x="10389443" y="3593429"/>
            <a:ext cx="72172" cy="721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18453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5</TotalTime>
  <Words>368</Words>
  <Application>Microsoft Office PowerPoint</Application>
  <PresentationFormat>Widescreen</PresentationFormat>
  <Paragraphs>204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6" baseType="lpstr">
      <vt:lpstr>Abadi Extra Light</vt:lpstr>
      <vt:lpstr>Aharoni</vt:lpstr>
      <vt:lpstr>Arial</vt:lpstr>
      <vt:lpstr>Calibri</vt:lpstr>
      <vt:lpstr>Calibri Light</vt:lpstr>
      <vt:lpstr>Franklin Gothic</vt:lpstr>
      <vt:lpstr>Libre Franklin</vt:lpstr>
      <vt:lpstr>Noto Sans Symbols</vt:lpstr>
      <vt:lpstr>Office Theme</vt:lpstr>
      <vt:lpstr>1_Office Theme</vt:lpstr>
      <vt:lpstr>think-cell Slide</vt:lpstr>
      <vt:lpstr>PowerPoint Presentation</vt:lpstr>
      <vt:lpstr>Technologies Infomineo can be handling  </vt:lpstr>
      <vt:lpstr>PowerPoint Presentation</vt:lpstr>
      <vt:lpstr>PowerPoint Presentation</vt:lpstr>
      <vt:lpstr>Technologies Infomineo can be handling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sa 2</dc:creator>
  <cp:lastModifiedBy>Casa 2</cp:lastModifiedBy>
  <cp:revision>6</cp:revision>
  <dcterms:created xsi:type="dcterms:W3CDTF">2023-02-07T16:53:19Z</dcterms:created>
  <dcterms:modified xsi:type="dcterms:W3CDTF">2023-02-08T14:08:50Z</dcterms:modified>
</cp:coreProperties>
</file>